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A2F_EDC2338D.xml" ContentType="application/vnd.ms-powerpoint.comments+xml"/>
  <Override PartName="/ppt/comments/modernComment_A3A_B588F103.xml" ContentType="application/vnd.ms-powerpoint.comments+xml"/>
  <Override PartName="/ppt/notesSlides/notesSlide3.xml" ContentType="application/vnd.openxmlformats-officedocument.presentationml.notesSlide+xml"/>
  <Override PartName="/ppt/comments/modernComment_A38_FF1C4910.xml" ContentType="application/vnd.ms-powerpoint.comments+xml"/>
  <Override PartName="/ppt/notesSlides/notesSlide4.xml" ContentType="application/vnd.openxmlformats-officedocument.presentationml.notesSlide+xml"/>
  <Override PartName="/ppt/comments/modernComment_A59_DA1C6603.xml" ContentType="application/vnd.ms-powerpoint.comments+xml"/>
  <Override PartName="/ppt/notesSlides/notesSlide5.xml" ContentType="application/vnd.openxmlformats-officedocument.presentationml.notesSlide+xml"/>
  <Override PartName="/ppt/comments/modernComment_A3F_C0E2E17.xml" ContentType="application/vnd.ms-powerpoint.comments+xml"/>
  <Override PartName="/ppt/notesSlides/notesSlide6.xml" ContentType="application/vnd.openxmlformats-officedocument.presentationml.notesSlide+xml"/>
  <Override PartName="/ppt/comments/modernComment_A5A_C1E601F8.xml" ContentType="application/vnd.ms-powerpoint.comments+xml"/>
  <Override PartName="/ppt/notesSlides/notesSlide7.xml" ContentType="application/vnd.openxmlformats-officedocument.presentationml.notesSlide+xml"/>
  <Override PartName="/ppt/comments/modernComment_A44_47E81170.xml" ContentType="application/vnd.ms-powerpoint.comments+xml"/>
  <Override PartName="/ppt/notesSlides/notesSlide8.xml" ContentType="application/vnd.openxmlformats-officedocument.presentationml.notesSlide+xml"/>
  <Override PartName="/ppt/comments/modernComment_A52_78E00D37.xml" ContentType="application/vnd.ms-powerpoint.comments+xml"/>
  <Override PartName="/ppt/comments/modernComment_A4A_5043F333.xml" ContentType="application/vnd.ms-powerpoint.comments+xml"/>
  <Override PartName="/ppt/notesSlides/notesSlide9.xml" ContentType="application/vnd.openxmlformats-officedocument.presentationml.notesSlide+xml"/>
  <Override PartName="/ppt/comments/modernComment_A5B_81CEF3B3.xml" ContentType="application/vnd.ms-powerpoint.comments+xml"/>
  <Override PartName="/ppt/notesSlides/notesSlide10.xml" ContentType="application/vnd.openxmlformats-officedocument.presentationml.notesSlide+xml"/>
  <Override PartName="/ppt/comments/modernComment_A40_74A28032.xml" ContentType="application/vnd.ms-powerpoint.comments+xml"/>
  <Override PartName="/ppt/comments/modernComment_A45_A6477EA8.xml" ContentType="application/vnd.ms-powerpoint.comment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omments/modernComment_A47_BA82FD6D.xml" ContentType="application/vnd.ms-powerpoint.comments+xml"/>
  <Override PartName="/ppt/comments/modernComment_A4B_EEFCC2B1.xml" ContentType="application/vnd.ms-powerpoint.comments+xml"/>
  <Override PartName="/ppt/notesSlides/notesSlide12.xml" ContentType="application/vnd.openxmlformats-officedocument.presentationml.notesSlide+xml"/>
  <Override PartName="/ppt/comments/modernComment_A39_51EB0C16.xml" ContentType="application/vnd.ms-powerpoint.comments+xml"/>
  <Override PartName="/ppt/comments/modernComment_A3B_9C88ABD7.xml" ContentType="application/vnd.ms-powerpoint.comments+xml"/>
  <Override PartName="/ppt/comments/modernComment_A3C_9A448F38.xml" ContentType="application/vnd.ms-powerpoint.comments+xml"/>
  <Override PartName="/ppt/comments/modernComment_A41_745B324F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4"/>
  </p:notesMasterIdLst>
  <p:sldIdLst>
    <p:sldId id="2615" r:id="rId2"/>
    <p:sldId id="2607" r:id="rId3"/>
    <p:sldId id="2618" r:id="rId4"/>
    <p:sldId id="2641" r:id="rId5"/>
    <p:sldId id="2616" r:id="rId6"/>
    <p:sldId id="2649" r:id="rId7"/>
    <p:sldId id="2623" r:id="rId8"/>
    <p:sldId id="2621" r:id="rId9"/>
    <p:sldId id="2650" r:id="rId10"/>
    <p:sldId id="2640" r:id="rId11"/>
    <p:sldId id="2628" r:id="rId12"/>
    <p:sldId id="2648" r:id="rId13"/>
    <p:sldId id="2642" r:id="rId14"/>
    <p:sldId id="2643" r:id="rId15"/>
    <p:sldId id="2644" r:id="rId16"/>
    <p:sldId id="2634" r:id="rId17"/>
    <p:sldId id="2651" r:id="rId18"/>
    <p:sldId id="2624" r:id="rId19"/>
    <p:sldId id="2622" r:id="rId20"/>
    <p:sldId id="2629" r:id="rId21"/>
    <p:sldId id="2639" r:id="rId22"/>
    <p:sldId id="456" r:id="rId23"/>
    <p:sldId id="2645" r:id="rId24"/>
    <p:sldId id="2646" r:id="rId25"/>
    <p:sldId id="2647" r:id="rId26"/>
    <p:sldId id="2631" r:id="rId27"/>
    <p:sldId id="2626" r:id="rId28"/>
    <p:sldId id="2635" r:id="rId29"/>
    <p:sldId id="2617" r:id="rId30"/>
    <p:sldId id="2619" r:id="rId31"/>
    <p:sldId id="2620" r:id="rId32"/>
    <p:sldId id="2625" r:id="rId33"/>
  </p:sldIdLst>
  <p:sldSz cx="12192000" cy="6858000"/>
  <p:notesSz cx="6858000" cy="9144000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A3D1573-6942-46EA-83A5-22CF84AFC75D}">
          <p14:sldIdLst>
            <p14:sldId id="2615"/>
            <p14:sldId id="2607"/>
            <p14:sldId id="2618"/>
            <p14:sldId id="2641"/>
            <p14:sldId id="2616"/>
            <p14:sldId id="2649"/>
            <p14:sldId id="2623"/>
            <p14:sldId id="2621"/>
            <p14:sldId id="2650"/>
            <p14:sldId id="2640"/>
            <p14:sldId id="2628"/>
            <p14:sldId id="2648"/>
            <p14:sldId id="2642"/>
            <p14:sldId id="2643"/>
            <p14:sldId id="2644"/>
            <p14:sldId id="2634"/>
            <p14:sldId id="2651"/>
            <p14:sldId id="2624"/>
            <p14:sldId id="2622"/>
            <p14:sldId id="2629"/>
            <p14:sldId id="2639"/>
            <p14:sldId id="456"/>
          </p14:sldIdLst>
        </p14:section>
        <p14:section name="Summary Section" id="{5100C1FA-A332-4FE0-A310-0CD364B3C305}">
          <p14:sldIdLst/>
        </p14:section>
        <p14:section name="Einblicke ins Projekt" id="{E797CDD1-9A6C-4011-9A88-79E3F24AA89F}">
          <p14:sldIdLst>
            <p14:sldId id="2645"/>
          </p14:sldIdLst>
        </p14:section>
        <p14:section name="Einblicke ins Projekt" id="{8BE8621C-BDC1-48AF-A759-94104C8B7B92}">
          <p14:sldIdLst>
            <p14:sldId id="2646"/>
          </p14:sldIdLst>
        </p14:section>
        <p14:section name="Einblicke ins Projekt" id="{188D2C62-D554-4EF1-BD20-1F7E2B4222AB}">
          <p14:sldIdLst>
            <p14:sldId id="2647"/>
            <p14:sldId id="2631"/>
            <p14:sldId id="2626"/>
            <p14:sldId id="2635"/>
            <p14:sldId id="2617"/>
            <p14:sldId id="2619"/>
            <p14:sldId id="2620"/>
            <p14:sldId id="262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526CFC8-FEE6-AA0D-5E03-382475B5F35D}" name="Axel Böll" initials="AB" userId="89b13755c30310ca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xel" initials="A" lastIdx="45" clrIdx="0">
    <p:extLst>
      <p:ext uri="{19B8F6BF-5375-455C-9EA6-DF929625EA0E}">
        <p15:presenceInfo xmlns:p15="http://schemas.microsoft.com/office/powerpoint/2012/main" userId="89b13755c30310c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5050"/>
    <a:srgbClr val="AD007C"/>
    <a:srgbClr val="80C535"/>
    <a:srgbClr val="E7B457"/>
    <a:srgbClr val="47DAF7"/>
    <a:srgbClr val="B1B50B"/>
    <a:srgbClr val="9A9A16"/>
    <a:srgbClr val="59A798"/>
    <a:srgbClr val="969696"/>
    <a:srgbClr val="C8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177E2F-B1BE-425B-92EC-F9B7659EAF54}" v="233" dt="2022-09-25T19:44:51.679"/>
  </p1510:revLst>
</p1510:revInfo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microsoft.com/office/2018/10/relationships/authors" Target="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comments/modernComment_A2F_EDC2338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583A60-FED1-41E3-A9F8-078EFDF2B533}" authorId="{4526CFC8-FEE6-AA0D-5E03-382475B5F35D}" status="resolved" created="2022-08-19T11:58:53.440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988927373" sldId="2607"/>
      <ac:spMk id="4" creationId="{34114008-611E-442A-A754-CD9D9F772811}"/>
      <ac:txMk cp="0" len="6">
        <ac:context len="7" hash="2200860749"/>
      </ac:txMk>
    </ac:txMkLst>
    <p188:pos x="1255450" y="812800"/>
    <p188:txBody>
      <a:bodyPr/>
      <a:lstStyle/>
      <a:p>
        <a:r>
          <a:rPr lang="en-GB"/>
          <a:t>Zeit sehr knapp erwähnen </a:t>
        </a:r>
      </a:p>
    </p188:txBody>
  </p188:cm>
  <p188:cm id="{88B98757-7DDC-E510-BAC4-DA3B8E12D533}" authorId="{4526CFC8-FEE6-AA0D-5E03-382475B5F35D}" created="2022-09-13T12:32:13.650">
    <pc:sldMkLst xmlns:pc="http://schemas.microsoft.com/office/powerpoint/2013/main/command">
      <pc:docMk/>
      <pc:sldMk cId="3988927373" sldId="2607"/>
    </pc:sldMkLst>
    <p188:pos x="3313113" y="3549650"/>
    <p188:txBody>
      <a:bodyPr/>
      <a:lstStyle/>
      <a:p>
        <a:r>
          <a:rPr lang="en-GB"/>
          <a:t>Evlt. umbenennen</a:t>
        </a:r>
      </a:p>
    </p188:txBody>
  </p188:cm>
  <p188:cm id="{8441541D-9C9E-C6F4-D812-0FF2D77AEC42}" authorId="{4526CFC8-FEE6-AA0D-5E03-382475B5F35D}" status="resolved" created="2022-09-13T12:33:02.764" complete="100000">
    <pc:sldMkLst xmlns:pc="http://schemas.microsoft.com/office/powerpoint/2013/main/command">
      <pc:docMk/>
      <pc:sldMk cId="3988927373" sldId="2607"/>
    </pc:sldMkLst>
    <p188:pos x="2970213" y="2357438"/>
    <p188:txBody>
      <a:bodyPr/>
      <a:lstStyle/>
      <a:p>
        <a:r>
          <a:rPr lang="en-GB"/>
          <a:t>Auf Folien anpassen</a:t>
        </a:r>
      </a:p>
    </p188:txBody>
  </p188:cm>
</p188:cmLst>
</file>

<file path=ppt/comments/modernComment_A38_FF1C491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F70670C-CF1F-26D3-32E0-B041141F47DC}" authorId="{4526CFC8-FEE6-AA0D-5E03-382475B5F35D}" status="resolved" created="2022-09-13T12:39:11.388" complete="100000">
    <pc:sldMkLst xmlns:pc="http://schemas.microsoft.com/office/powerpoint/2013/main/command">
      <pc:docMk/>
      <pc:sldMk cId="4280043792" sldId="2616"/>
    </pc:sldMkLst>
    <p188:pos x="15875" y="15875"/>
    <p188:txBody>
      <a:bodyPr/>
      <a:lstStyle/>
      <a:p>
        <a:r>
          <a:rPr lang="en-GB"/>
          <a:t>Wesentliches in Mittelpunkt, Blickführung</a:t>
        </a:r>
      </a:p>
    </p188:txBody>
  </p188:cm>
  <p188:cm id="{423BB8FD-1EF1-C2FE-7135-7579EA42DAB2}" authorId="{4526CFC8-FEE6-AA0D-5E03-382475B5F35D}" status="resolved" created="2022-09-13T12:39:27.368" complete="100000">
    <pc:sldMkLst xmlns:pc="http://schemas.microsoft.com/office/powerpoint/2013/main/command">
      <pc:docMk/>
      <pc:sldMk cId="4280043792" sldId="2616"/>
    </pc:sldMkLst>
    <p188:pos x="231775" y="231775"/>
    <p188:txBody>
      <a:bodyPr/>
      <a:lstStyle/>
      <a:p>
        <a:r>
          <a:rPr lang="en-GB"/>
          <a:t>Größeres Video</a:t>
        </a:r>
      </a:p>
    </p188:txBody>
  </p188:cm>
  <p188:cm id="{D88E57FF-77BF-3EAA-D60A-42D2CB85E620}" authorId="{4526CFC8-FEE6-AA0D-5E03-382475B5F35D}" status="resolved" created="2022-09-13T12:41:57.083" complete="100000">
    <pc:sldMkLst xmlns:pc="http://schemas.microsoft.com/office/powerpoint/2013/main/command">
      <pc:docMk/>
      <pc:sldMk cId="4280043792" sldId="2616"/>
    </pc:sldMkLst>
    <p188:pos x="447675" y="447675"/>
    <p188:txBody>
      <a:bodyPr/>
      <a:lstStyle/>
      <a:p>
        <a:r>
          <a:rPr lang="en-GB"/>
          <a:t>Situation mehr erklären am Anfang</a:t>
        </a:r>
      </a:p>
    </p188:txBody>
  </p188:cm>
  <p188:cm id="{B8D58286-F836-CC34-FDA4-44D32C7902E9}" authorId="{4526CFC8-FEE6-AA0D-5E03-382475B5F35D}" status="resolved" created="2022-09-13T12:44:38.854" complete="100000">
    <pc:sldMkLst xmlns:pc="http://schemas.microsoft.com/office/powerpoint/2013/main/command">
      <pc:docMk/>
      <pc:sldMk cId="4280043792" sldId="2616"/>
    </pc:sldMkLst>
    <p188:pos x="663575" y="663575"/>
    <p188:replyLst>
      <p188:reply id="{3504A4DB-F978-3F68-2E4B-C47A2FF3BFFE}" authorId="{4526CFC8-FEE6-AA0D-5E03-382475B5F35D}" created="2022-09-13T12:45:03.410">
        <p188:txBody>
          <a:bodyPr/>
          <a:lstStyle/>
          <a:p>
            <a:r>
              <a:rPr lang="en-GB"/>
              <a:t>Bzw. schwarzr Hintergrund</a:t>
            </a:r>
          </a:p>
        </p188:txBody>
      </p188:reply>
    </p188:replyLst>
    <p188:txBody>
      <a:bodyPr/>
      <a:lstStyle/>
      <a:p>
        <a:r>
          <a:rPr lang="en-GB"/>
          <a:t>Video auf Vollbild</a:t>
        </a:r>
      </a:p>
    </p188:txBody>
  </p188:cm>
  <p188:cm id="{36C5D652-32D6-88D6-0888-D2BCA158A366}" authorId="{4526CFC8-FEE6-AA0D-5E03-382475B5F35D}" created="2022-09-13T12:52:48.007">
    <pc:sldMkLst xmlns:pc="http://schemas.microsoft.com/office/powerpoint/2013/main/command">
      <pc:docMk/>
      <pc:sldMk cId="4280043792" sldId="2616"/>
    </pc:sldMkLst>
    <p188:pos x="879475" y="879475"/>
    <p188:txBody>
      <a:bodyPr/>
      <a:lstStyle/>
      <a:p>
        <a:r>
          <a:rPr lang="en-GB"/>
          <a:t>Infos im Video einblenden</a:t>
        </a:r>
      </a:p>
    </p188:txBody>
  </p188:cm>
</p188:cmLst>
</file>

<file path=ppt/comments/modernComment_A39_51EB0C1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EE1586A-A179-4410-B6FF-51718B6D707E}" authorId="{4526CFC8-FEE6-AA0D-5E03-382475B5F35D}" status="resolved" created="2022-08-19T11:26:01.671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74358550" sldId="2617"/>
      <ac:spMk id="3" creationId="{00000000-0000-0000-0000-000000000000}"/>
    </ac:deMkLst>
    <p188:replyLst>
      <p188:reply id="{9AAAFA2F-FADB-4228-8F8B-F387977D457E}" authorId="{4526CFC8-FEE6-AA0D-5E03-382475B5F35D}" created="2022-08-19T11:26:16.753">
        <p188:txBody>
          <a:bodyPr/>
          <a:lstStyle/>
          <a:p>
            <a:r>
              <a:rPr lang="en-GB"/>
              <a:t>Bild DC</a:t>
            </a:r>
          </a:p>
        </p188:txBody>
      </p188:reply>
    </p188:replyLst>
    <p188:txBody>
      <a:bodyPr/>
      <a:lstStyle/>
      <a:p>
        <a:r>
          <a:rPr lang="en-GB"/>
          <a:t>Safety-Assessments</a:t>
        </a:r>
      </a:p>
    </p188:txBody>
  </p188:cm>
  <p188:cm id="{9CB1870F-1A28-96BA-24B7-1175550C082E}" authorId="{4526CFC8-FEE6-AA0D-5E03-382475B5F35D}" created="2022-09-13T12:45:24.682">
    <pc:sldMkLst xmlns:pc="http://schemas.microsoft.com/office/powerpoint/2013/main/command">
      <pc:docMk/>
      <pc:sldMk cId="1374358550" sldId="2617"/>
    </pc:sldMkLst>
    <p188:pos x="15875" y="15875"/>
    <p188:txBody>
      <a:bodyPr/>
      <a:lstStyle/>
      <a:p>
        <a:r>
          <a:rPr lang="en-GB"/>
          <a:t>Zusammenhang Falsifikation</a:t>
        </a:r>
      </a:p>
    </p188:txBody>
  </p188:cm>
  <p188:cm id="{33D34386-F7E0-455A-876E-573C2BE5D886}" authorId="{4526CFC8-FEE6-AA0D-5E03-382475B5F35D}" created="2022-09-13T12:45:41.370">
    <pc:sldMkLst xmlns:pc="http://schemas.microsoft.com/office/powerpoint/2013/main/command">
      <pc:docMk/>
      <pc:sldMk cId="1374358550" sldId="2617"/>
    </pc:sldMkLst>
    <p188:pos x="231775" y="231775"/>
    <p188:txBody>
      <a:bodyPr/>
      <a:lstStyle/>
      <a:p>
        <a:r>
          <a:rPr lang="en-GB"/>
          <a:t>Satety-Assessment Approaches kürzen</a:t>
        </a:r>
      </a:p>
    </p188:txBody>
  </p188:cm>
  <p188:cm id="{D8BA348C-E6EA-75DA-D98D-0494EDF4A4DA}" authorId="{4526CFC8-FEE6-AA0D-5E03-382475B5F35D}" created="2022-09-13T12:47:07.166">
    <pc:sldMkLst xmlns:pc="http://schemas.microsoft.com/office/powerpoint/2013/main/command">
      <pc:docMk/>
      <pc:sldMk cId="1374358550" sldId="2617"/>
    </pc:sldMkLst>
    <p188:pos x="11066463" y="1730375"/>
    <p188:txBody>
      <a:bodyPr/>
      <a:lstStyle/>
      <a:p>
        <a:r>
          <a:rPr lang="en-GB"/>
          <a:t>Andere Anordnung</a:t>
        </a:r>
      </a:p>
    </p188:txBody>
  </p188:cm>
</p188:cmLst>
</file>

<file path=ppt/comments/modernComment_A3A_B588F10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553DB6B-FC94-33E0-8B60-0D62E2F16ACF}" authorId="{4526CFC8-FEE6-AA0D-5E03-382475B5F35D}" created="2022-09-13T12:33:51.735">
    <pc:sldMkLst xmlns:pc="http://schemas.microsoft.com/office/powerpoint/2013/main/command">
      <pc:docMk/>
      <pc:sldMk cId="3045650691" sldId="2618"/>
    </pc:sldMkLst>
    <p188:pos x="7791450" y="1601788"/>
    <p188:replyLst>
      <p188:reply id="{958B75BD-2DB4-2FFE-837C-D181A7BF83D3}" authorId="{4526CFC8-FEE6-AA0D-5E03-382475B5F35D}" created="2022-09-13T12:35:01.644">
        <p188:txBody>
          <a:bodyPr/>
          <a:lstStyle/>
          <a:p>
            <a:r>
              <a:rPr lang="en-GB"/>
              <a:t>Mehr Bilder</a:t>
            </a:r>
          </a:p>
        </p188:txBody>
      </p188:reply>
    </p188:replyLst>
    <p188:txBody>
      <a:bodyPr/>
      <a:lstStyle/>
      <a:p>
        <a:r>
          <a:rPr lang="en-GB"/>
          <a:t>Nur Titel, weniger Text</a:t>
        </a:r>
      </a:p>
    </p188:txBody>
  </p188:cm>
  <p188:cm id="{82CEAAF3-94BB-D6DA-4739-311E22C33C5B}" authorId="{4526CFC8-FEE6-AA0D-5E03-382475B5F35D}" status="resolved" created="2022-09-13T12:35:39.399" complete="100000">
    <pc:sldMkLst xmlns:pc="http://schemas.microsoft.com/office/powerpoint/2013/main/command">
      <pc:docMk/>
      <pc:sldMk cId="3045650691" sldId="2618"/>
    </pc:sldMkLst>
    <p188:pos x="15875" y="15875"/>
    <p188:txBody>
      <a:bodyPr/>
      <a:lstStyle/>
      <a:p>
        <a:r>
          <a:rPr lang="en-GB"/>
          <a:t>Quellen angeben!</a:t>
        </a:r>
      </a:p>
    </p188:txBody>
  </p188:cm>
</p188:cmLst>
</file>

<file path=ppt/comments/modernComment_A3B_9C88ABD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F8D1A56-9CC3-05A7-CCA9-31AD0DDA67C5}" authorId="{4526CFC8-FEE6-AA0D-5E03-382475B5F35D}" created="2022-09-13T13:04:18.038">
    <pc:sldMkLst xmlns:pc="http://schemas.microsoft.com/office/powerpoint/2013/main/command">
      <pc:docMk/>
      <pc:sldMk cId="2626202583" sldId="2619"/>
    </pc:sldMkLst>
    <p188:pos x="15875" y="15875"/>
    <p188:replyLst>
      <p188:reply id="{7BC3FC60-B988-208C-91C1-BA9F7F39EFBC}" authorId="{4526CFC8-FEE6-AA0D-5E03-382475B5F35D}" created="2022-09-13T13:04:37.437">
        <p188:txBody>
          <a:bodyPr/>
          <a:lstStyle/>
          <a:p>
            <a:r>
              <a:rPr lang="en-GB"/>
              <a:t>Trennfolie oder Gliederrung erneut</a:t>
            </a:r>
          </a:p>
        </p188:txBody>
      </p188:reply>
    </p188:replyLst>
    <p188:txBody>
      <a:bodyPr/>
      <a:lstStyle/>
      <a:p>
        <a:r>
          <a:rPr lang="en-GB"/>
          <a:t>Übergänge Klarer</a:t>
        </a:r>
      </a:p>
    </p188:txBody>
  </p188:cm>
  <p188:cm id="{5CFC1F0A-3B1D-CBB6-11FE-D1983BB473A1}" authorId="{4526CFC8-FEE6-AA0D-5E03-382475B5F35D}" created="2022-09-13T13:08:52.155">
    <pc:sldMkLst xmlns:pc="http://schemas.microsoft.com/office/powerpoint/2013/main/command">
      <pc:docMk/>
      <pc:sldMk cId="2626202583" sldId="2619"/>
    </pc:sldMkLst>
    <p188:pos x="231775" y="231775"/>
    <p188:txBody>
      <a:bodyPr/>
      <a:lstStyle/>
      <a:p>
        <a:r>
          <a:rPr lang="en-GB"/>
          <a:t>Carla 1 Foie</a:t>
        </a:r>
      </a:p>
    </p188:txBody>
  </p188:cm>
  <p188:cm id="{48857891-DE3E-9E55-8C3C-A7CD65F283F8}" authorId="{4526CFC8-FEE6-AA0D-5E03-382475B5F35D}" created="2022-09-13T13:10:49.357">
    <pc:sldMkLst xmlns:pc="http://schemas.microsoft.com/office/powerpoint/2013/main/command">
      <pc:docMk/>
      <pc:sldMk cId="2626202583" sldId="2619"/>
    </pc:sldMkLst>
    <p188:pos x="447675" y="447675"/>
    <p188:txBody>
      <a:bodyPr/>
      <a:lstStyle/>
      <a:p>
        <a:endParaRPr lang="en-GB"/>
      </a:p>
    </p188:txBody>
  </p188:cm>
  <p188:cm id="{6D71DB2D-9244-C54D-D48B-D8C09A025399}" authorId="{4526CFC8-FEE6-AA0D-5E03-382475B5F35D}" created="2022-09-13T13:12:16.052">
    <pc:sldMkLst xmlns:pc="http://schemas.microsoft.com/office/powerpoint/2013/main/command">
      <pc:docMk/>
      <pc:sldMk cId="2626202583" sldId="2619"/>
    </pc:sldMkLst>
    <p188:pos x="663575" y="663575"/>
    <p188:txBody>
      <a:bodyPr/>
      <a:lstStyle/>
      <a:p>
        <a:r>
          <a:rPr lang="en-GB"/>
          <a:t>Carla in stablebaselines folie einbetten</a:t>
        </a:r>
      </a:p>
    </p188:txBody>
  </p188:cm>
</p188:cmLst>
</file>

<file path=ppt/comments/modernComment_A3C_9A448F3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FFD0D50-4279-47B3-BFAF-3FAD347A09EF}" authorId="{4526CFC8-FEE6-AA0D-5E03-382475B5F35D}" status="resolved" created="2022-08-19T11:34:35.909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588184376" sldId="2620"/>
      <ac:spMk id="4" creationId="{00000000-0000-0000-0000-000000000000}"/>
      <ac:txMk cp="20" len="27">
        <ac:context len="107" hash="529110346"/>
      </ac:txMk>
    </ac:txMkLst>
    <p188:pos x="3386900" y="427850"/>
    <p188:txBody>
      <a:bodyPr/>
      <a:lstStyle/>
      <a:p>
        <a:r>
          <a:rPr lang="en-GB"/>
          <a:t>Bild open Issues Carla </a:t>
        </a:r>
      </a:p>
    </p188:txBody>
  </p188:cm>
  <p188:cm id="{D3802DF5-1E62-74D4-394A-FA452402160C}" authorId="{4526CFC8-FEE6-AA0D-5E03-382475B5F35D}" created="2022-09-13T13:17:51.917">
    <pc:sldMkLst xmlns:pc="http://schemas.microsoft.com/office/powerpoint/2013/main/command">
      <pc:docMk/>
      <pc:sldMk cId="2588184376" sldId="2620"/>
    </pc:sldMkLst>
    <p188:pos x="8356600" y="4041775"/>
    <p188:txBody>
      <a:bodyPr/>
      <a:lstStyle/>
      <a:p>
        <a:r>
          <a:rPr lang="en-GB"/>
          <a:t>Screenshot nicht schwarz</a:t>
        </a:r>
      </a:p>
    </p188:txBody>
  </p188:cm>
  <p188:cm id="{51BC58BA-90A9-2D96-082C-5D870D635A25}" authorId="{4526CFC8-FEE6-AA0D-5E03-382475B5F35D}" created="2022-09-13T13:18:39.367">
    <pc:sldMkLst xmlns:pc="http://schemas.microsoft.com/office/powerpoint/2013/main/command">
      <pc:docMk/>
      <pc:sldMk cId="2588184376" sldId="2620"/>
    </pc:sldMkLst>
    <p188:pos x="9305925" y="3892550"/>
    <p188:txBody>
      <a:bodyPr/>
      <a:lstStyle/>
      <a:p>
        <a:r>
          <a:rPr lang="en-GB"/>
          <a:t>Auf Optik achten Fluss</a:t>
        </a:r>
      </a:p>
    </p188:txBody>
  </p188:cm>
</p188:cmLst>
</file>

<file path=ppt/comments/modernComment_A3F_C0E2E1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1FF0F64-94AA-60C7-CA53-FB96D86A9CF7}" authorId="{4526CFC8-FEE6-AA0D-5E03-382475B5F35D}" status="resolved" created="2022-09-13T13:20:08.334" complete="100000">
    <pc:sldMkLst xmlns:pc="http://schemas.microsoft.com/office/powerpoint/2013/main/command">
      <pc:docMk/>
      <pc:sldMk cId="202255895" sldId="2623"/>
    </pc:sldMkLst>
    <p188:pos x="15875" y="15875"/>
    <p188:txBody>
      <a:bodyPr/>
      <a:lstStyle/>
      <a:p>
        <a:r>
          <a:rPr lang="en-GB"/>
          <a:t>Quellen Sinnvll und Einheitlich</a:t>
        </a:r>
      </a:p>
    </p188:txBody>
  </p188:cm>
</p188:cmLst>
</file>

<file path=ppt/comments/modernComment_A40_74A2803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7277319-7E82-41A7-A252-35161BB0011D}" authorId="{4526CFC8-FEE6-AA0D-5E03-382475B5F35D}" created="2022-08-19T11:55:51.26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956806706" sldId="2624"/>
      <ac:spMk id="2" creationId="{00000000-0000-0000-0000-000000000000}"/>
      <ac:txMk cp="0" len="8">
        <ac:context len="9" hash="244281755"/>
      </ac:txMk>
    </ac:txMkLst>
    <p188:pos x="1249100" y="812800"/>
    <p188:txBody>
      <a:bodyPr/>
      <a:lstStyle/>
      <a:p>
        <a:r>
          <a:rPr lang="en-GB"/>
          <a:t>Tonspur: Ideen für weitere Arbeiten/ Masterarbeit </a:t>
        </a:r>
      </a:p>
    </p188:txBody>
  </p188:cm>
  <p188:cm id="{E94AAE5B-C988-C453-7678-28F7CC4A640E}" authorId="{4526CFC8-FEE6-AA0D-5E03-382475B5F35D}" created="2022-09-13T13:56:28.770">
    <pc:sldMkLst xmlns:pc="http://schemas.microsoft.com/office/powerpoint/2013/main/command">
      <pc:docMk/>
      <pc:sldMk cId="1956806706" sldId="2624"/>
    </pc:sldMkLst>
    <p188:pos x="1074738" y="1951038"/>
    <p188:txBody>
      <a:bodyPr/>
      <a:lstStyle/>
      <a:p>
        <a:r>
          <a:rPr lang="en-GB"/>
          <a:t>Einheitlicher Stiel</a:t>
        </a:r>
      </a:p>
    </p188:txBody>
  </p188:cm>
  <p188:cm id="{BCD66B32-79F6-C258-652D-EAF5A568B06E}" authorId="{4526CFC8-FEE6-AA0D-5E03-382475B5F35D}" created="2022-09-13T13:58:53.724">
    <pc:sldMkLst xmlns:pc="http://schemas.microsoft.com/office/powerpoint/2013/main/command">
      <pc:docMk/>
      <pc:sldMk cId="1956806706" sldId="2624"/>
    </pc:sldMkLst>
    <p188:pos x="15875" y="15875"/>
    <p188:txBody>
      <a:bodyPr/>
      <a:lstStyle/>
      <a:p>
        <a:r>
          <a:rPr lang="en-GB"/>
          <a:t>Nur Bild links oben</a:t>
        </a:r>
      </a:p>
    </p188:txBody>
  </p188:cm>
</p188:cmLst>
</file>

<file path=ppt/comments/modernComment_A41_745B324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EE7174A-8736-47A9-8797-0B92BC35A692}" authorId="{4526CFC8-FEE6-AA0D-5E03-382475B5F35D}" created="2022-08-19T11:33:03.1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952133711" sldId="2625"/>
      <ac:picMk id="9" creationId="{00000000-0000-0000-0000-000000000000}"/>
    </ac:deMkLst>
    <p188:txBody>
      <a:bodyPr/>
      <a:lstStyle/>
      <a:p>
        <a:r>
          <a:rPr lang="en-GB"/>
          <a:t>Amerika gerade Straße</a:t>
        </a:r>
      </a:p>
    </p188:txBody>
  </p188:cm>
  <p188:cm id="{68AFD57C-5C14-97B1-F362-C13641CC3B3B}" authorId="{4526CFC8-FEE6-AA0D-5E03-382475B5F35D}" created="2022-09-13T13:51:50.259">
    <pc:sldMkLst xmlns:pc="http://schemas.microsoft.com/office/powerpoint/2013/main/command">
      <pc:docMk/>
      <pc:sldMk cId="1952133711" sldId="2625"/>
    </pc:sldMkLst>
    <p188:pos x="15875" y="15875"/>
    <p188:txBody>
      <a:bodyPr/>
      <a:lstStyle/>
      <a:p>
        <a:r>
          <a:rPr lang="en-GB"/>
          <a:t>Agenda evtl. mit Foto</a:t>
        </a:r>
      </a:p>
    </p188:txBody>
  </p188:cm>
</p188:cmLst>
</file>

<file path=ppt/comments/modernComment_A44_47E8117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F75C0B3-E73F-D61D-2774-EF6FF04FE1A8}" authorId="{4526CFC8-FEE6-AA0D-5E03-382475B5F35D}" created="2022-09-13T13:33:20.578">
    <pc:sldMkLst xmlns:pc="http://schemas.microsoft.com/office/powerpoint/2013/main/command">
      <pc:docMk/>
      <pc:sldMk cId="1206391152" sldId="2628"/>
    </pc:sldMkLst>
    <p188:pos x="11472863" y="1193800"/>
    <p188:txBody>
      <a:bodyPr/>
      <a:lstStyle/>
      <a:p>
        <a:r>
          <a:rPr lang="en-GB"/>
          <a:t>Normales Layout verwenden</a:t>
        </a:r>
      </a:p>
    </p188:txBody>
  </p188:cm>
</p188:cmLst>
</file>

<file path=ppt/comments/modernComment_A45_A6477EA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813692B-31A5-E995-4CF4-A2C2946F681F}" authorId="{4526CFC8-FEE6-AA0D-5E03-382475B5F35D}" created="2022-09-13T14:00:37.116">
    <pc:sldMkLst xmlns:pc="http://schemas.microsoft.com/office/powerpoint/2013/main/command">
      <pc:docMk/>
      <pc:sldMk cId="2789703336" sldId="2629"/>
    </pc:sldMkLst>
    <p188:pos x="773113" y="3346450"/>
    <p188:txBody>
      <a:bodyPr/>
      <a:lstStyle/>
      <a:p>
        <a:r>
          <a:rPr lang="en-GB"/>
          <a:t>Folien auf der die Quelle ist</a:t>
        </a:r>
      </a:p>
    </p188:txBody>
  </p188:cm>
</p188:cmLst>
</file>

<file path=ppt/comments/modernComment_A47_BA82FD6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EC89662-3D2E-208B-6C59-AFBD2CDE6AFE}" authorId="{4526CFC8-FEE6-AA0D-5E03-382475B5F35D}" created="2022-09-13T13:27:11.919">
    <pc:sldMkLst xmlns:pc="http://schemas.microsoft.com/office/powerpoint/2013/main/command">
      <pc:docMk/>
      <pc:sldMk cId="3129146733" sldId="2631"/>
    </pc:sldMkLst>
    <p188:pos x="1555750" y="2800350"/>
    <p188:txBody>
      <a:bodyPr/>
      <a:lstStyle/>
      <a:p>
        <a:r>
          <a:rPr lang="en-GB"/>
          <a:t>Animationen</a:t>
        </a:r>
      </a:p>
    </p188:txBody>
  </p188:cm>
  <p188:cm id="{51CC9A51-3E23-BAF4-CD4B-5B9A58378C3A}" authorId="{4526CFC8-FEE6-AA0D-5E03-382475B5F35D}" status="resolved" created="2022-09-13T13:28:27.622" complete="100000">
    <pc:sldMkLst xmlns:pc="http://schemas.microsoft.com/office/powerpoint/2013/main/command">
      <pc:docMk/>
      <pc:sldMk cId="3129146733" sldId="2631"/>
    </pc:sldMkLst>
    <p188:pos x="5973763" y="3838575"/>
    <p188:txBody>
      <a:bodyPr/>
      <a:lstStyle/>
      <a:p>
        <a:r>
          <a:rPr lang="en-GB"/>
          <a:t>Markenbilder weglassen</a:t>
        </a:r>
      </a:p>
    </p188:txBody>
  </p188:cm>
  <p188:cm id="{59BAA24D-CADE-340E-CF3B-2F6D13ED8B14}" authorId="{4526CFC8-FEE6-AA0D-5E03-382475B5F35D}" status="resolved" created="2022-09-13T13:30:13.684" complete="100000">
    <pc:sldMkLst xmlns:pc="http://schemas.microsoft.com/office/powerpoint/2013/main/command">
      <pc:docMk/>
      <pc:sldMk cId="3129146733" sldId="2631"/>
    </pc:sldMkLst>
    <p188:pos x="1366838" y="3224213"/>
    <p188:replyLst>
      <p188:reply id="{9B430990-6802-701E-C63B-C24542138D85}" authorId="{4526CFC8-FEE6-AA0D-5E03-382475B5F35D}" created="2022-09-13T13:30:42.496">
        <p188:txBody>
          <a:bodyPr/>
          <a:lstStyle/>
          <a:p>
            <a:r>
              <a:rPr lang="en-GB"/>
              <a:t>Oder Schaubild</a:t>
            </a:r>
          </a:p>
        </p188:txBody>
      </p188:reply>
    </p188:replyLst>
    <p188:txBody>
      <a:bodyPr/>
      <a:lstStyle/>
      <a:p>
        <a:r>
          <a:rPr lang="en-GB"/>
          <a:t>Diagramm wie was zusammenhängt</a:t>
        </a:r>
      </a:p>
    </p188:txBody>
  </p188:cm>
</p188:cmLst>
</file>

<file path=ppt/comments/modernComment_A4A_5043F33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8CF196C-D648-FA5E-1394-F3EF948170CC}" authorId="{4526CFC8-FEE6-AA0D-5E03-382475B5F35D}" created="2022-09-13T13:46:52.620">
    <pc:sldMkLst xmlns:pc="http://schemas.microsoft.com/office/powerpoint/2013/main/command">
      <pc:docMk/>
      <pc:sldMk cId="1346630451" sldId="2634"/>
    </pc:sldMkLst>
    <p188:pos x="15875" y="15875"/>
    <p188:txBody>
      <a:bodyPr/>
      <a:lstStyle/>
      <a:p>
        <a:r>
          <a:rPr lang="en-GB"/>
          <a:t>Warum Hyperparameter optimierung</a:t>
        </a:r>
      </a:p>
    </p188:txBody>
  </p188:cm>
  <p188:cm id="{62878473-F41F-ED20-F305-326010FBEF59}" authorId="{4526CFC8-FEE6-AA0D-5E03-382475B5F35D}" created="2022-09-13T13:50:45.854">
    <pc:sldMkLst xmlns:pc="http://schemas.microsoft.com/office/powerpoint/2013/main/command">
      <pc:docMk/>
      <pc:sldMk cId="1346630451" sldId="2634"/>
    </pc:sldMkLst>
    <p188:pos x="231775" y="231775"/>
    <p188:txBody>
      <a:bodyPr/>
      <a:lstStyle/>
      <a:p>
        <a:r>
          <a:rPr lang="en-GB"/>
          <a:t>LR zu Epochen</a:t>
        </a:r>
      </a:p>
    </p188:txBody>
  </p188:cm>
</p188:cmLst>
</file>

<file path=ppt/comments/modernComment_A4B_EEFCC2B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C275534-A6FB-2137-F60B-AFBA61376719}" authorId="{4526CFC8-FEE6-AA0D-5E03-382475B5F35D}" created="2022-09-13T13:37:46.849">
    <pc:sldMkLst xmlns:pc="http://schemas.microsoft.com/office/powerpoint/2013/main/command">
      <pc:docMk/>
      <pc:sldMk cId="4009542321" sldId="2635"/>
    </pc:sldMkLst>
    <p188:pos x="15875" y="15875"/>
    <p188:replyLst>
      <p188:reply id="{267964DC-DBB3-C698-F0B7-B73E01FE26AA}" authorId="{4526CFC8-FEE6-AA0D-5E03-382475B5F35D}" created="2022-09-13T13:38:12.882">
        <p188:txBody>
          <a:bodyPr/>
          <a:lstStyle/>
          <a:p>
            <a:r>
              <a:rPr lang="en-GB"/>
              <a:t>Titel des Diagrammes</a:t>
            </a:r>
          </a:p>
        </p188:txBody>
      </p188:reply>
    </p188:replyLst>
    <p188:txBody>
      <a:bodyPr/>
      <a:lstStyle/>
      <a:p>
        <a:r>
          <a:rPr lang="en-GB"/>
          <a:t>Plot zu klein, Achsen berschrieftung</a:t>
        </a:r>
      </a:p>
    </p188:txBody>
  </p188:cm>
  <p188:cm id="{FE2AA6B6-CC37-DE24-E27E-16386D49A177}" authorId="{4526CFC8-FEE6-AA0D-5E03-382475B5F35D}" created="2022-09-13T13:39:40.567">
    <pc:sldMkLst xmlns:pc="http://schemas.microsoft.com/office/powerpoint/2013/main/command">
      <pc:docMk/>
      <pc:sldMk cId="4009542321" sldId="2635"/>
    </pc:sldMkLst>
    <p188:pos x="10080625" y="1698625"/>
    <p188:replyLst>
      <p188:reply id="{801EAC03-9E49-7FA9-2414-EF9596EF1ADB}" authorId="{4526CFC8-FEE6-AA0D-5E03-382475B5F35D}" created="2022-09-13T13:40:08.518">
        <p188:txBody>
          <a:bodyPr/>
          <a:lstStyle/>
          <a:p>
            <a:r>
              <a:rPr lang="en-GB"/>
              <a:t>Figure</a:t>
            </a:r>
          </a:p>
        </p188:txBody>
      </p188:reply>
    </p188:replyLst>
    <p188:txBody>
      <a:bodyPr/>
      <a:lstStyle/>
      <a:p>
        <a:r>
          <a:rPr lang="en-GB"/>
          <a:t>Layoutfunktion</a:t>
        </a:r>
      </a:p>
    </p188:txBody>
  </p188:cm>
  <p188:cm id="{0400545A-8279-843F-5A8F-FE7F84B21581}" authorId="{4526CFC8-FEE6-AA0D-5E03-382475B5F35D}" created="2022-09-13T13:41:20.404">
    <pc:sldMkLst xmlns:pc="http://schemas.microsoft.com/office/powerpoint/2013/main/command">
      <pc:docMk/>
      <pc:sldMk cId="4009542321" sldId="2635"/>
    </pc:sldMkLst>
    <p188:pos x="231775" y="231775"/>
    <p188:txBody>
      <a:bodyPr/>
      <a:lstStyle/>
      <a:p>
        <a:r>
          <a:rPr lang="en-GB"/>
          <a:t>Mehr Infos</a:t>
        </a:r>
      </a:p>
    </p188:txBody>
  </p188:cm>
  <p188:cm id="{A233B801-869D-DB9F-9FA2-FFBD3C66648C}" authorId="{4526CFC8-FEE6-AA0D-5E03-382475B5F35D}" created="2022-09-13T13:44:29.209">
    <pc:sldMkLst xmlns:pc="http://schemas.microsoft.com/office/powerpoint/2013/main/command">
      <pc:docMk/>
      <pc:sldMk cId="4009542321" sldId="2635"/>
    </pc:sldMkLst>
    <p188:pos x="447675" y="447675"/>
    <p188:txBody>
      <a:bodyPr/>
      <a:lstStyle/>
      <a:p>
        <a:r>
          <a:rPr lang="en-GB"/>
          <a:t>Punishment erklären</a:t>
        </a:r>
      </a:p>
    </p188:txBody>
  </p188:cm>
</p188:cmLst>
</file>

<file path=ppt/comments/modernComment_A52_78E00D3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A6DB826-6082-41B0-A02C-0543B387EDBA}" authorId="{4526CFC8-FEE6-AA0D-5E03-382475B5F35D}" status="resolved" created="2022-09-13T13:33:20.578" complete="100000">
    <pc:sldMkLst xmlns:pc="http://schemas.microsoft.com/office/powerpoint/2013/main/command">
      <pc:docMk/>
      <pc:sldMk cId="1206391152" sldId="2628"/>
    </pc:sldMkLst>
    <p188:pos x="11472863" y="1193800"/>
    <p188:txBody>
      <a:bodyPr/>
      <a:lstStyle/>
      <a:p>
        <a:r>
          <a:rPr lang="en-GB"/>
          <a:t>Normales Layout verwenden</a:t>
        </a:r>
      </a:p>
    </p188:txBody>
  </p188:cm>
</p188:cmLst>
</file>

<file path=ppt/comments/modernComment_A59_DA1C660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6FBEC62-DAF6-4484-A2E8-19CDE02AF0F7}" authorId="{4526CFC8-FEE6-AA0D-5E03-382475B5F35D}" status="resolved" created="2022-08-19T11:58:53.44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59294211" sldId="2649"/>
      <ac:spMk id="4" creationId="{34114008-611E-442A-A754-CD9D9F772811}"/>
      <ac:txMk cp="0" len="6">
        <ac:context len="7" hash="2200860749"/>
      </ac:txMk>
    </ac:txMkLst>
    <p188:pos x="1255450" y="812800"/>
    <p188:txBody>
      <a:bodyPr/>
      <a:lstStyle/>
      <a:p>
        <a:r>
          <a:rPr lang="en-GB"/>
          <a:t>Zeit sehr knapp erwähnen </a:t>
        </a:r>
      </a:p>
    </p188:txBody>
  </p188:cm>
  <p188:cm id="{82EEF7DF-3928-462B-944F-FC74AA39DE3A}" authorId="{4526CFC8-FEE6-AA0D-5E03-382475B5F35D}" created="2022-09-13T12:32:13.650">
    <pc:sldMkLst xmlns:pc="http://schemas.microsoft.com/office/powerpoint/2013/main/command">
      <pc:docMk/>
      <pc:sldMk cId="3988927373" sldId="2607"/>
    </pc:sldMkLst>
    <p188:pos x="3313113" y="3549650"/>
    <p188:txBody>
      <a:bodyPr/>
      <a:lstStyle/>
      <a:p>
        <a:r>
          <a:rPr lang="en-GB"/>
          <a:t>Evlt. umbenennen</a:t>
        </a:r>
      </a:p>
    </p188:txBody>
  </p188:cm>
  <p188:cm id="{8DB83500-E75E-4C8A-BF58-D9E3A24518C2}" authorId="{4526CFC8-FEE6-AA0D-5E03-382475B5F35D}" status="resolved" created="2022-09-13T12:33:02.764">
    <pc:sldMkLst xmlns:pc="http://schemas.microsoft.com/office/powerpoint/2013/main/command">
      <pc:docMk/>
      <pc:sldMk cId="3988927373" sldId="2607"/>
    </pc:sldMkLst>
    <p188:pos x="2970213" y="2357438"/>
    <p188:txBody>
      <a:bodyPr/>
      <a:lstStyle/>
      <a:p>
        <a:r>
          <a:rPr lang="en-GB"/>
          <a:t>Auf Folien anpassen</a:t>
        </a:r>
      </a:p>
    </p188:txBody>
  </p188:cm>
</p188:cmLst>
</file>

<file path=ppt/comments/modernComment_A5A_C1E601F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C88E181-99A1-45C0-85F7-1DBE3C957565}" authorId="{4526CFC8-FEE6-AA0D-5E03-382475B5F35D}" status="resolved" created="2022-08-19T11:58:53.44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253076472" sldId="2650"/>
      <ac:spMk id="4" creationId="{34114008-611E-442A-A754-CD9D9F772811}"/>
      <ac:txMk cp="0" len="6">
        <ac:context len="7" hash="2200860749"/>
      </ac:txMk>
    </ac:txMkLst>
    <p188:pos x="1255450" y="812800"/>
    <p188:txBody>
      <a:bodyPr/>
      <a:lstStyle/>
      <a:p>
        <a:r>
          <a:rPr lang="en-GB"/>
          <a:t>Zeit sehr knapp erwähnen </a:t>
        </a:r>
      </a:p>
    </p188:txBody>
  </p188:cm>
  <p188:cm id="{F333D314-DC85-4D2B-870E-55289848CFB7}" authorId="{4526CFC8-FEE6-AA0D-5E03-382475B5F35D}" created="2022-09-13T12:32:13.650">
    <pc:sldMkLst xmlns:pc="http://schemas.microsoft.com/office/powerpoint/2013/main/command">
      <pc:docMk/>
      <pc:sldMk cId="3988927373" sldId="2607"/>
    </pc:sldMkLst>
    <p188:pos x="3313113" y="3549650"/>
    <p188:txBody>
      <a:bodyPr/>
      <a:lstStyle/>
      <a:p>
        <a:r>
          <a:rPr lang="en-GB"/>
          <a:t>Evlt. umbenennen</a:t>
        </a:r>
      </a:p>
    </p188:txBody>
  </p188:cm>
  <p188:cm id="{0A043B32-8E27-4FEE-B7EC-C597FBA0CE32}" authorId="{4526CFC8-FEE6-AA0D-5E03-382475B5F35D}" status="resolved" created="2022-09-13T12:33:02.764">
    <pc:sldMkLst xmlns:pc="http://schemas.microsoft.com/office/powerpoint/2013/main/command">
      <pc:docMk/>
      <pc:sldMk cId="3988927373" sldId="2607"/>
    </pc:sldMkLst>
    <p188:pos x="2970213" y="2357438"/>
    <p188:txBody>
      <a:bodyPr/>
      <a:lstStyle/>
      <a:p>
        <a:r>
          <a:rPr lang="en-GB"/>
          <a:t>Auf Folien anpassen</a:t>
        </a:r>
      </a:p>
    </p188:txBody>
  </p188:cm>
</p188:cmLst>
</file>

<file path=ppt/comments/modernComment_A5B_81CEF3B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316ACE3-811C-4320-9ADF-FBBEEB55708A}" authorId="{4526CFC8-FEE6-AA0D-5E03-382475B5F35D}" status="resolved" created="2022-08-19T11:58:53.44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77823667" sldId="2651"/>
      <ac:spMk id="4" creationId="{34114008-611E-442A-A754-CD9D9F772811}"/>
      <ac:txMk cp="0" len="6">
        <ac:context len="7" hash="2200860749"/>
      </ac:txMk>
    </ac:txMkLst>
    <p188:pos x="1255450" y="812800"/>
    <p188:txBody>
      <a:bodyPr/>
      <a:lstStyle/>
      <a:p>
        <a:r>
          <a:rPr lang="en-GB"/>
          <a:t>Zeit sehr knapp erwähnen </a:t>
        </a:r>
      </a:p>
    </p188:txBody>
  </p188:cm>
  <p188:cm id="{5BE4086E-ECCA-4690-87C7-8C26DD32972D}" authorId="{4526CFC8-FEE6-AA0D-5E03-382475B5F35D}" created="2022-09-13T12:32:13.650">
    <pc:sldMkLst xmlns:pc="http://schemas.microsoft.com/office/powerpoint/2013/main/command">
      <pc:docMk/>
      <pc:sldMk cId="3988927373" sldId="2607"/>
    </pc:sldMkLst>
    <p188:pos x="3313113" y="3549650"/>
    <p188:txBody>
      <a:bodyPr/>
      <a:lstStyle/>
      <a:p>
        <a:r>
          <a:rPr lang="en-GB"/>
          <a:t>Evlt. umbenennen</a:t>
        </a:r>
      </a:p>
    </p188:txBody>
  </p188:cm>
  <p188:cm id="{A82A50D9-FAB6-4D3F-A331-765F4B0D95FB}" authorId="{4526CFC8-FEE6-AA0D-5E03-382475B5F35D}" status="resolved" created="2022-09-13T12:33:02.764">
    <pc:sldMkLst xmlns:pc="http://schemas.microsoft.com/office/powerpoint/2013/main/command">
      <pc:docMk/>
      <pc:sldMk cId="3988927373" sldId="2607"/>
    </pc:sldMkLst>
    <p188:pos x="2970213" y="2357438"/>
    <p188:txBody>
      <a:bodyPr/>
      <a:lstStyle/>
      <a:p>
        <a:r>
          <a:rPr lang="en-GB"/>
          <a:t>Auf Folien anpassen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01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Quellen auf den</a:t>
            </a:r>
            <a:r>
              <a:rPr lang="de-DE" baseline="0"/>
              <a:t> Letzen Folien </a:t>
            </a:r>
          </a:p>
          <a:p>
            <a:r>
              <a:rPr lang="de-DE" baseline="0"/>
              <a:t>Besserer </a:t>
            </a:r>
            <a:r>
              <a:rPr lang="de-DE" baseline="0" err="1"/>
              <a:t>titel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89121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>
                <a:effectLst/>
                <a:latin typeface="Segoe UI" panose="020B0502040204020203" pitchFamily="34" charset="0"/>
              </a:rPr>
              <a:t>Tonspur: Ideen für weitere Arbeiten/ Masterarbeit </a:t>
            </a:r>
          </a:p>
          <a:p>
            <a:r>
              <a:rPr lang="de-DE" sz="1800">
                <a:effectLst/>
                <a:latin typeface="Segoe UI" panose="020B0502040204020203" pitchFamily="34" charset="0"/>
              </a:rPr>
              <a:t>Unfallvermeidung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66608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Quellen auf den</a:t>
            </a:r>
            <a:r>
              <a:rPr lang="de-DE" baseline="0"/>
              <a:t> Letzen Folien </a:t>
            </a:r>
          </a:p>
          <a:p>
            <a:r>
              <a:rPr lang="de-DE" baseline="0"/>
              <a:t>Besserer </a:t>
            </a:r>
            <a:r>
              <a:rPr lang="de-DE" baseline="0" err="1"/>
              <a:t>titel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7996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5666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lle </a:t>
            </a:r>
            <a:r>
              <a:rPr lang="en-GB" err="1"/>
              <a:t>Quellen</a:t>
            </a:r>
            <a:r>
              <a:rPr lang="en-GB"/>
              <a:t> </a:t>
            </a:r>
            <a:r>
              <a:rPr lang="en-GB" err="1"/>
              <a:t>sind</a:t>
            </a:r>
            <a:r>
              <a:rPr lang="en-GB"/>
              <a:t> am Ende </a:t>
            </a:r>
            <a:r>
              <a:rPr lang="en-GB" err="1"/>
              <a:t>nochmal</a:t>
            </a:r>
            <a:r>
              <a:rPr lang="en-GB"/>
              <a:t> an </a:t>
            </a:r>
            <a:r>
              <a:rPr lang="en-GB" err="1"/>
              <a:t>gegeben</a:t>
            </a:r>
            <a:endParaRPr lang="en-GB"/>
          </a:p>
          <a:p>
            <a:r>
              <a:rPr lang="en-GB"/>
              <a:t>Zeit </a:t>
            </a:r>
            <a:r>
              <a:rPr lang="en-GB" err="1"/>
              <a:t>sehr</a:t>
            </a:r>
            <a:r>
              <a:rPr lang="en-GB"/>
              <a:t> </a:t>
            </a:r>
            <a:r>
              <a:rPr lang="en-GB" err="1"/>
              <a:t>knapp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3183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err="1"/>
              <a:t>Ziel</a:t>
            </a:r>
            <a:r>
              <a:rPr lang="en-GB"/>
              <a:t>: </a:t>
            </a:r>
            <a:r>
              <a:rPr lang="en-GB" err="1"/>
              <a:t>Unfall</a:t>
            </a:r>
            <a:r>
              <a:rPr lang="en-GB"/>
              <a:t> in der </a:t>
            </a:r>
            <a:r>
              <a:rPr lang="en-GB" err="1"/>
              <a:t>Virtuellen</a:t>
            </a:r>
            <a:r>
              <a:rPr lang="en-GB"/>
              <a:t> </a:t>
            </a:r>
            <a:r>
              <a:rPr lang="en-GB" err="1"/>
              <a:t>Umgebung</a:t>
            </a:r>
            <a:r>
              <a:rPr lang="en-GB"/>
              <a:t>, </a:t>
            </a:r>
            <a:r>
              <a:rPr lang="en-GB" err="1"/>
              <a:t>dass</a:t>
            </a:r>
            <a:r>
              <a:rPr lang="en-GB"/>
              <a:t> es im </a:t>
            </a:r>
            <a:r>
              <a:rPr lang="en-GB" err="1"/>
              <a:t>Realworld</a:t>
            </a:r>
            <a:r>
              <a:rPr lang="en-GB"/>
              <a:t> Testing </a:t>
            </a:r>
            <a:r>
              <a:rPr lang="en-GB" err="1"/>
              <a:t>nicht</a:t>
            </a:r>
            <a:r>
              <a:rPr lang="en-GB"/>
              <a:t> </a:t>
            </a:r>
            <a:r>
              <a:rPr lang="en-GB" err="1"/>
              <a:t>passiert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3371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lle </a:t>
            </a:r>
            <a:r>
              <a:rPr lang="en-GB" err="1"/>
              <a:t>Quellen</a:t>
            </a:r>
            <a:r>
              <a:rPr lang="en-GB"/>
              <a:t> </a:t>
            </a:r>
            <a:r>
              <a:rPr lang="en-GB" err="1"/>
              <a:t>sind</a:t>
            </a:r>
            <a:r>
              <a:rPr lang="en-GB"/>
              <a:t> am Ende </a:t>
            </a:r>
            <a:r>
              <a:rPr lang="en-GB" err="1"/>
              <a:t>nochmal</a:t>
            </a:r>
            <a:r>
              <a:rPr lang="en-GB"/>
              <a:t> an </a:t>
            </a:r>
            <a:r>
              <a:rPr lang="en-GB" err="1"/>
              <a:t>gegeben</a:t>
            </a:r>
            <a:endParaRPr lang="en-GB"/>
          </a:p>
          <a:p>
            <a:r>
              <a:rPr lang="en-GB"/>
              <a:t>Zeit </a:t>
            </a:r>
            <a:r>
              <a:rPr lang="en-GB" err="1"/>
              <a:t>sehr</a:t>
            </a:r>
            <a:r>
              <a:rPr lang="en-GB"/>
              <a:t> </a:t>
            </a:r>
            <a:r>
              <a:rPr lang="en-GB" err="1"/>
              <a:t>knapp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3679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i="1"/>
              <a:t>Agent</a:t>
            </a:r>
            <a:r>
              <a:rPr lang="de-DE"/>
              <a:t>: Fußgänger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i="1"/>
              <a:t>Environment</a:t>
            </a:r>
            <a:r>
              <a:rPr lang="de-DE"/>
              <a:t>: Carla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i="1"/>
              <a:t>Actions</a:t>
            </a:r>
            <a:r>
              <a:rPr lang="de-DE"/>
              <a:t>: Richtung und Speed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i="1"/>
              <a:t>State/ Observation</a:t>
            </a:r>
            <a:r>
              <a:rPr lang="de-DE"/>
              <a:t>: Richtung/ Speed von Auto und Fußgänger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 </a:t>
            </a:r>
            <a:r>
              <a:rPr lang="en-GB" b="1" i="1"/>
              <a:t>Reward</a:t>
            </a:r>
            <a:r>
              <a:rPr lang="de-DE" b="1" i="1"/>
              <a:t> Funktion</a:t>
            </a:r>
            <a:r>
              <a:rPr lang="de-DE"/>
              <a:t>: Klassifikation kritische Situationen 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4288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lle </a:t>
            </a:r>
            <a:r>
              <a:rPr lang="en-GB" err="1"/>
              <a:t>Quellen</a:t>
            </a:r>
            <a:r>
              <a:rPr lang="en-GB"/>
              <a:t> </a:t>
            </a:r>
            <a:r>
              <a:rPr lang="en-GB" err="1"/>
              <a:t>sind</a:t>
            </a:r>
            <a:r>
              <a:rPr lang="en-GB"/>
              <a:t> am Ende </a:t>
            </a:r>
            <a:r>
              <a:rPr lang="en-GB" err="1"/>
              <a:t>nochmal</a:t>
            </a:r>
            <a:r>
              <a:rPr lang="en-GB"/>
              <a:t> an </a:t>
            </a:r>
            <a:r>
              <a:rPr lang="en-GB" err="1"/>
              <a:t>gegeben</a:t>
            </a:r>
            <a:endParaRPr lang="en-GB"/>
          </a:p>
          <a:p>
            <a:r>
              <a:rPr lang="en-GB"/>
              <a:t>Zeit </a:t>
            </a:r>
            <a:r>
              <a:rPr lang="en-GB" err="1"/>
              <a:t>sehr</a:t>
            </a:r>
            <a:r>
              <a:rPr lang="en-GB"/>
              <a:t> </a:t>
            </a:r>
            <a:r>
              <a:rPr lang="en-GB" err="1"/>
              <a:t>knapp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4980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55287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unishment </a:t>
            </a:r>
            <a:r>
              <a:rPr lang="en-GB" err="1"/>
              <a:t>erklären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87274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lle </a:t>
            </a:r>
            <a:r>
              <a:rPr lang="en-GB" err="1"/>
              <a:t>Quellen</a:t>
            </a:r>
            <a:r>
              <a:rPr lang="en-GB"/>
              <a:t> </a:t>
            </a:r>
            <a:r>
              <a:rPr lang="en-GB" err="1"/>
              <a:t>sind</a:t>
            </a:r>
            <a:r>
              <a:rPr lang="en-GB"/>
              <a:t> am Ende </a:t>
            </a:r>
            <a:r>
              <a:rPr lang="en-GB" err="1"/>
              <a:t>nochmal</a:t>
            </a:r>
            <a:r>
              <a:rPr lang="en-GB"/>
              <a:t> an </a:t>
            </a:r>
            <a:r>
              <a:rPr lang="en-GB" err="1"/>
              <a:t>gegeben</a:t>
            </a:r>
            <a:endParaRPr lang="en-GB"/>
          </a:p>
          <a:p>
            <a:r>
              <a:rPr lang="en-GB"/>
              <a:t>Zeit </a:t>
            </a:r>
            <a:r>
              <a:rPr lang="en-GB" err="1"/>
              <a:t>sehr</a:t>
            </a:r>
            <a:r>
              <a:rPr lang="en-GB"/>
              <a:t> </a:t>
            </a:r>
            <a:r>
              <a:rPr lang="en-GB" err="1"/>
              <a:t>knapp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697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image" Target="../media/image5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00" y="288000"/>
            <a:ext cx="2943975" cy="102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2955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artneruni-Logo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00" y="288000"/>
            <a:ext cx="2943975" cy="102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0657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Name des Vortragenden</a:t>
            </a:r>
          </a:p>
          <a:p>
            <a:pPr lvl="0"/>
            <a:r>
              <a:rPr lang="de-DE"/>
              <a:t>Lehrstuhl / Institut</a:t>
            </a:r>
          </a:p>
          <a:p>
            <a:pPr lvl="0"/>
            <a:r>
              <a:rPr lang="de-DE"/>
              <a:t>Universität Augsburg</a:t>
            </a:r>
          </a:p>
          <a:p>
            <a:pPr lvl="0"/>
            <a:r>
              <a:rPr lang="de-DE"/>
              <a:t>email@uni-augsburg.de</a:t>
            </a:r>
          </a:p>
          <a:p>
            <a:pPr lvl="0"/>
            <a:r>
              <a:rPr lang="de-DE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Name des Vortragenden</a:t>
            </a:r>
          </a:p>
          <a:p>
            <a:pPr lvl="0"/>
            <a:r>
              <a:rPr lang="de-DE"/>
              <a:t>Lehrstuhl / Institut</a:t>
            </a:r>
          </a:p>
          <a:p>
            <a:pPr lvl="0"/>
            <a:r>
              <a:rPr lang="de-DE"/>
              <a:t>Universität Augsburg</a:t>
            </a:r>
          </a:p>
          <a:p>
            <a:pPr lvl="0"/>
            <a:r>
              <a:rPr lang="de-DE"/>
              <a:t>email@uni-augsburg.de</a:t>
            </a:r>
          </a:p>
          <a:p>
            <a:pPr lvl="0"/>
            <a:r>
              <a:rPr lang="de-DE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Name des Vortragenden</a:t>
            </a:r>
          </a:p>
          <a:p>
            <a:pPr lvl="0"/>
            <a:r>
              <a:rPr lang="de-DE"/>
              <a:t>Lehrstuhl / Institut</a:t>
            </a:r>
          </a:p>
          <a:p>
            <a:pPr lvl="0"/>
            <a:r>
              <a:rPr lang="de-DE"/>
              <a:t>Universität Augsburg</a:t>
            </a:r>
          </a:p>
          <a:p>
            <a:pPr lvl="0"/>
            <a:r>
              <a:rPr lang="de-DE"/>
              <a:t>email@uni-augsburg.de</a:t>
            </a:r>
          </a:p>
          <a:p>
            <a:pPr lvl="0"/>
            <a:r>
              <a:rPr lang="de-DE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|    15.02.2019</a:t>
            </a:r>
            <a:endParaRPr lang="de-DE" sz="90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|    Lehrstuhl Mechatronik    |   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010" y="6411885"/>
            <a:ext cx="1093603" cy="38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9" r:id="rId3"/>
    <p:sldLayoutId id="2147483735" r:id="rId4"/>
    <p:sldLayoutId id="2147483740" r:id="rId5"/>
    <p:sldLayoutId id="2147483734" r:id="rId6"/>
    <p:sldLayoutId id="2147483724" r:id="rId7"/>
    <p:sldLayoutId id="2147483693" r:id="rId8"/>
    <p:sldLayoutId id="2147483650" r:id="rId9"/>
    <p:sldLayoutId id="2147483652" r:id="rId10"/>
    <p:sldLayoutId id="2147483700" r:id="rId11"/>
    <p:sldLayoutId id="2147483701" r:id="rId12"/>
    <p:sldLayoutId id="2147483653" r:id="rId13"/>
    <p:sldLayoutId id="2147483692" r:id="rId14"/>
    <p:sldLayoutId id="2147483704" r:id="rId15"/>
    <p:sldLayoutId id="2147483705" r:id="rId16"/>
    <p:sldLayoutId id="2147483707" r:id="rId17"/>
    <p:sldLayoutId id="2147483654" r:id="rId18"/>
    <p:sldLayoutId id="2147483733" r:id="rId19"/>
    <p:sldLayoutId id="2147483737" r:id="rId20"/>
    <p:sldLayoutId id="2147483684" r:id="rId21"/>
    <p:sldLayoutId id="2147483698" r:id="rId22"/>
    <p:sldLayoutId id="2147483697" r:id="rId23"/>
    <p:sldLayoutId id="2147483685" r:id="rId24"/>
    <p:sldLayoutId id="2147483681" r:id="rId25"/>
    <p:sldLayoutId id="2147483703" r:id="rId26"/>
    <p:sldLayoutId id="2147483736" r:id="rId27"/>
    <p:sldLayoutId id="2147483686" r:id="rId28"/>
    <p:sldLayoutId id="2147483687" r:id="rId29"/>
    <p:sldLayoutId id="2147483690" r:id="rId30"/>
    <p:sldLayoutId id="2147483696" r:id="rId31"/>
    <p:sldLayoutId id="2147483679" r:id="rId32"/>
    <p:sldLayoutId id="2147483682" r:id="rId33"/>
    <p:sldLayoutId id="2147483678" r:id="rId34"/>
    <p:sldLayoutId id="2147483675" r:id="rId35"/>
    <p:sldLayoutId id="2147483688" r:id="rId36"/>
    <p:sldLayoutId id="2147483723" r:id="rId37"/>
    <p:sldLayoutId id="2147483699" r:id="rId38"/>
    <p:sldLayoutId id="2147483722" r:id="rId39"/>
    <p:sldLayoutId id="2147483738" r:id="rId40"/>
    <p:sldLayoutId id="2147483709" r:id="rId41"/>
    <p:sldLayoutId id="2147483710" r:id="rId42"/>
    <p:sldLayoutId id="2147483708" r:id="rId43"/>
    <p:sldLayoutId id="2147483726" r:id="rId44"/>
    <p:sldLayoutId id="2147483727" r:id="rId45"/>
    <p:sldLayoutId id="2147483728" r:id="rId46"/>
    <p:sldLayoutId id="2147483729" r:id="rId47"/>
    <p:sldLayoutId id="2147483730" r:id="rId48"/>
    <p:sldLayoutId id="2147483731" r:id="rId49"/>
    <p:sldLayoutId id="2147483732" r:id="rId5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6.png"/><Relationship Id="rId18" Type="http://schemas.openxmlformats.org/officeDocument/2006/relationships/image" Target="../media/image11.svg"/><Relationship Id="rId26" Type="http://schemas.openxmlformats.org/officeDocument/2006/relationships/image" Target="../media/image19.svg"/><Relationship Id="rId3" Type="http://schemas.openxmlformats.org/officeDocument/2006/relationships/tags" Target="../tags/tag10.xml"/><Relationship Id="rId21" Type="http://schemas.openxmlformats.org/officeDocument/2006/relationships/image" Target="../media/image14.png"/><Relationship Id="rId7" Type="http://schemas.openxmlformats.org/officeDocument/2006/relationships/tags" Target="../tags/tag14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10.png"/><Relationship Id="rId25" Type="http://schemas.openxmlformats.org/officeDocument/2006/relationships/image" Target="../media/image18.png"/><Relationship Id="rId2" Type="http://schemas.openxmlformats.org/officeDocument/2006/relationships/tags" Target="../tags/tag9.xml"/><Relationship Id="rId16" Type="http://schemas.openxmlformats.org/officeDocument/2006/relationships/image" Target="../media/image9.svg"/><Relationship Id="rId20" Type="http://schemas.openxmlformats.org/officeDocument/2006/relationships/image" Target="../media/image13.svg"/><Relationship Id="rId29" Type="http://schemas.openxmlformats.org/officeDocument/2006/relationships/image" Target="../media/image22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3.xml"/><Relationship Id="rId24" Type="http://schemas.openxmlformats.org/officeDocument/2006/relationships/image" Target="../media/image17.svg"/><Relationship Id="rId5" Type="http://schemas.openxmlformats.org/officeDocument/2006/relationships/tags" Target="../tags/tag12.xml"/><Relationship Id="rId15" Type="http://schemas.openxmlformats.org/officeDocument/2006/relationships/image" Target="../media/image8.png"/><Relationship Id="rId23" Type="http://schemas.openxmlformats.org/officeDocument/2006/relationships/image" Target="../media/image16.png"/><Relationship Id="rId28" Type="http://schemas.openxmlformats.org/officeDocument/2006/relationships/image" Target="../media/image21.svg"/><Relationship Id="rId10" Type="http://schemas.openxmlformats.org/officeDocument/2006/relationships/tags" Target="../tags/tag17.xml"/><Relationship Id="rId19" Type="http://schemas.openxmlformats.org/officeDocument/2006/relationships/image" Target="../media/image12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7.svg"/><Relationship Id="rId22" Type="http://schemas.openxmlformats.org/officeDocument/2006/relationships/image" Target="../media/image15.svg"/><Relationship Id="rId27" Type="http://schemas.openxmlformats.org/officeDocument/2006/relationships/image" Target="../media/image20.png"/><Relationship Id="rId30" Type="http://schemas.openxmlformats.org/officeDocument/2006/relationships/image" Target="../media/image23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cdn2.unrealengine.com/Unreal+Engine/spotlights/carla-democratizes-autonomous-vehicle-r-d-with-free-open-source-simulator/Spotlight_CARLA_blog_body_img6-1640x1000-eeea5b85b7ae79fbeea32eb669226974d5e581ef.jpg" TargetMode="Externa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44_47E8117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52_78E00D3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4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5.png"/><Relationship Id="rId3" Type="http://schemas.openxmlformats.org/officeDocument/2006/relationships/image" Target="../media/image41.png"/><Relationship Id="rId7" Type="http://schemas.openxmlformats.org/officeDocument/2006/relationships/image" Target="../media/image43.png"/><Relationship Id="rId12" Type="http://schemas.openxmlformats.org/officeDocument/2006/relationships/slide" Target="slide25.xml"/><Relationship Id="rId2" Type="http://schemas.microsoft.com/office/2018/10/relationships/comments" Target="../comments/modernComment_A4A_5043F333.xml"/><Relationship Id="rId1" Type="http://schemas.openxmlformats.org/officeDocument/2006/relationships/slideLayout" Target="../slideLayouts/slideLayout11.xml"/><Relationship Id="rId6" Type="http://schemas.openxmlformats.org/officeDocument/2006/relationships/slide" Target="slide23.xml"/><Relationship Id="rId11" Type="http://schemas.openxmlformats.org/officeDocument/2006/relationships/image" Target="../media/image45.png"/><Relationship Id="rId5" Type="http://schemas.openxmlformats.org/officeDocument/2006/relationships/image" Target="../media/image43.png"/><Relationship Id="rId10" Type="http://schemas.openxmlformats.org/officeDocument/2006/relationships/image" Target="../media/image44.png"/><Relationship Id="rId4" Type="http://schemas.openxmlformats.org/officeDocument/2006/relationships/image" Target="../media/image42.png"/><Relationship Id="rId9" Type="http://schemas.openxmlformats.org/officeDocument/2006/relationships/slide" Target="slide24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5B_81CEF3B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40_74A2803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blog.qbeyond.de/wp-content/uploads/2018/06/Algorithmus-1.jpg" TargetMode="External"/><Relationship Id="rId3" Type="http://schemas.openxmlformats.org/officeDocument/2006/relationships/hyperlink" Target="https://cdn2.unrealengine.com/Unreal+Engine/spotlights/carla-democratizes-autonomous-vehicle-r-d-with-free-open-source-simulator/Spotlight_CARLA_blog_body_img6-1640x1000-eeea5b85b7ae79fbeea32eb669226974d5e581ef.jpg" TargetMode="External"/><Relationship Id="rId7" Type="http://schemas.openxmlformats.org/officeDocument/2006/relationships/hyperlink" Target="https://www.tensorflow.org/site-assets/images/project-logos/tensorboard-logo-social.png" TargetMode="External"/><Relationship Id="rId2" Type="http://schemas.openxmlformats.org/officeDocument/2006/relationships/hyperlink" Target="https://www.dieweltenbummler.de/wp-content/uploads/2017/12/Lange-Stra%C3%9Fe-in-Kalifornien-1536x1024.jpg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raw.githubusercontent.com/optuna/optuna/master/docs/image/optuna-logo.png" TargetMode="External"/><Relationship Id="rId5" Type="http://schemas.openxmlformats.org/officeDocument/2006/relationships/hyperlink" Target="https://stable-baselines3.readthedocs.io/en/master/_static/logo.png" TargetMode="External"/><Relationship Id="rId10" Type="http://schemas.openxmlformats.org/officeDocument/2006/relationships/hyperlink" Target="https://www.ambassify.com/hs-fs/hubfs/New%2025%20Employee%20Recognition%20&amp;%20Rewards%20Ideas-13%202-13.png?width=740&amp;name=New%2025%20Employee%20Recognition%20%26%20Rewards%20Ideas-13%202-13.png" TargetMode="External"/><Relationship Id="rId4" Type="http://schemas.openxmlformats.org/officeDocument/2006/relationships/hyperlink" Target="https://miro.medium.com/max/1400/0*WC4l7u90TsKs_eXj.png" TargetMode="External"/><Relationship Id="rId9" Type="http://schemas.openxmlformats.org/officeDocument/2006/relationships/hyperlink" Target="https://thenounproject.com/icon/toolkit-154266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2F_EDC2338D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r.de/nachrichten/wirtschaft/nach-unfall-mit-bmw-was-ist-autonomes-fahren,TEg0fcF" TargetMode="External"/><Relationship Id="rId2" Type="http://schemas.microsoft.com/office/2018/10/relationships/comments" Target="../comments/modernComment_A45_A6477EA8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ieeexplore.ieee.org/stamp/stamp.jsp?arnumber=9090897" TargetMode="External"/><Relationship Id="rId5" Type="http://schemas.openxmlformats.org/officeDocument/2006/relationships/hyperlink" Target="https://mediatum.ub.tum.de/doc/1615375/1615375.pdf" TargetMode="External"/><Relationship Id="rId4" Type="http://schemas.openxmlformats.org/officeDocument/2006/relationships/hyperlink" Target="https://www.br.de/nachrichten/deutschland-welt/behoerden-ermitteln-nach-toedlichem-unfall-mit-uber-roboterwagen,Qmp87GT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6.png"/><Relationship Id="rId18" Type="http://schemas.openxmlformats.org/officeDocument/2006/relationships/image" Target="../media/image11.svg"/><Relationship Id="rId26" Type="http://schemas.openxmlformats.org/officeDocument/2006/relationships/image" Target="../media/image19.svg"/><Relationship Id="rId3" Type="http://schemas.openxmlformats.org/officeDocument/2006/relationships/tags" Target="../tags/tag20.xml"/><Relationship Id="rId21" Type="http://schemas.openxmlformats.org/officeDocument/2006/relationships/image" Target="../media/image14.png"/><Relationship Id="rId7" Type="http://schemas.openxmlformats.org/officeDocument/2006/relationships/tags" Target="../tags/tag24.xml"/><Relationship Id="rId12" Type="http://schemas.openxmlformats.org/officeDocument/2006/relationships/notesSlide" Target="../notesSlides/notesSlide11.xml"/><Relationship Id="rId17" Type="http://schemas.openxmlformats.org/officeDocument/2006/relationships/image" Target="../media/image10.png"/><Relationship Id="rId25" Type="http://schemas.openxmlformats.org/officeDocument/2006/relationships/image" Target="../media/image18.png"/><Relationship Id="rId2" Type="http://schemas.openxmlformats.org/officeDocument/2006/relationships/tags" Target="../tags/tag19.xml"/><Relationship Id="rId16" Type="http://schemas.openxmlformats.org/officeDocument/2006/relationships/image" Target="../media/image9.svg"/><Relationship Id="rId20" Type="http://schemas.openxmlformats.org/officeDocument/2006/relationships/image" Target="../media/image13.svg"/><Relationship Id="rId29" Type="http://schemas.openxmlformats.org/officeDocument/2006/relationships/image" Target="../media/image22.pn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slideLayout" Target="../slideLayouts/slideLayout3.xml"/><Relationship Id="rId24" Type="http://schemas.openxmlformats.org/officeDocument/2006/relationships/image" Target="../media/image17.svg"/><Relationship Id="rId5" Type="http://schemas.openxmlformats.org/officeDocument/2006/relationships/tags" Target="../tags/tag22.xml"/><Relationship Id="rId15" Type="http://schemas.openxmlformats.org/officeDocument/2006/relationships/image" Target="../media/image8.png"/><Relationship Id="rId23" Type="http://schemas.openxmlformats.org/officeDocument/2006/relationships/image" Target="../media/image16.png"/><Relationship Id="rId28" Type="http://schemas.openxmlformats.org/officeDocument/2006/relationships/image" Target="../media/image21.svg"/><Relationship Id="rId10" Type="http://schemas.openxmlformats.org/officeDocument/2006/relationships/tags" Target="../tags/tag27.xml"/><Relationship Id="rId19" Type="http://schemas.openxmlformats.org/officeDocument/2006/relationships/image" Target="../media/image12.pn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7.svg"/><Relationship Id="rId22" Type="http://schemas.openxmlformats.org/officeDocument/2006/relationships/image" Target="../media/image15.svg"/><Relationship Id="rId27" Type="http://schemas.openxmlformats.org/officeDocument/2006/relationships/image" Target="../media/image20.png"/><Relationship Id="rId30" Type="http://schemas.openxmlformats.org/officeDocument/2006/relationships/image" Target="../media/image23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7.svg"/><Relationship Id="rId18" Type="http://schemas.openxmlformats.org/officeDocument/2006/relationships/image" Target="../media/image12.png"/><Relationship Id="rId26" Type="http://schemas.openxmlformats.org/officeDocument/2006/relationships/image" Target="../media/image20.png"/><Relationship Id="rId3" Type="http://schemas.openxmlformats.org/officeDocument/2006/relationships/tags" Target="../tags/tag30.xml"/><Relationship Id="rId21" Type="http://schemas.openxmlformats.org/officeDocument/2006/relationships/image" Target="../media/image15.svg"/><Relationship Id="rId7" Type="http://schemas.openxmlformats.org/officeDocument/2006/relationships/tags" Target="../tags/tag34.xml"/><Relationship Id="rId12" Type="http://schemas.openxmlformats.org/officeDocument/2006/relationships/image" Target="../media/image6.png"/><Relationship Id="rId17" Type="http://schemas.openxmlformats.org/officeDocument/2006/relationships/image" Target="../media/image11.svg"/><Relationship Id="rId25" Type="http://schemas.openxmlformats.org/officeDocument/2006/relationships/image" Target="../media/image19.svg"/><Relationship Id="rId2" Type="http://schemas.openxmlformats.org/officeDocument/2006/relationships/tags" Target="../tags/tag29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29" Type="http://schemas.openxmlformats.org/officeDocument/2006/relationships/image" Target="../media/image23.sv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46.jpeg"/><Relationship Id="rId24" Type="http://schemas.openxmlformats.org/officeDocument/2006/relationships/image" Target="../media/image18.png"/><Relationship Id="rId5" Type="http://schemas.openxmlformats.org/officeDocument/2006/relationships/tags" Target="../tags/tag32.xml"/><Relationship Id="rId15" Type="http://schemas.openxmlformats.org/officeDocument/2006/relationships/image" Target="../media/image9.svg"/><Relationship Id="rId23" Type="http://schemas.openxmlformats.org/officeDocument/2006/relationships/image" Target="../media/image17.svg"/><Relationship Id="rId28" Type="http://schemas.openxmlformats.org/officeDocument/2006/relationships/image" Target="../media/image22.png"/><Relationship Id="rId10" Type="http://schemas.openxmlformats.org/officeDocument/2006/relationships/slideLayout" Target="../slideLayouts/slideLayout6.xml"/><Relationship Id="rId19" Type="http://schemas.openxmlformats.org/officeDocument/2006/relationships/image" Target="../media/image13.svg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8.png"/><Relationship Id="rId22" Type="http://schemas.openxmlformats.org/officeDocument/2006/relationships/image" Target="../media/image16.png"/><Relationship Id="rId27" Type="http://schemas.openxmlformats.org/officeDocument/2006/relationships/image" Target="../media/image21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microsoft.com/office/2018/10/relationships/comments" Target="../comments/modernComment_A47_BA82FD6D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microsoft.com/office/2018/10/relationships/comments" Target="../comments/modernComment_A4B_EEFCC2B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9.png"/><Relationship Id="rId4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39_51EB0C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microsoft.com/office/2018/10/relationships/comments" Target="../comments/modernComment_A3A_B588F10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5.png"/><Relationship Id="rId5" Type="http://schemas.openxmlformats.org/officeDocument/2006/relationships/hyperlink" Target="https://www.br.de/nachrichten/wissen/autonomes-fahrzeug-im-dilemma-wen-soll-ich-ueberfahren,R7Oqajo" TargetMode="External"/><Relationship Id="rId4" Type="http://schemas.openxmlformats.org/officeDocument/2006/relationships/hyperlink" Target="https://www.br.de/nachrichten/deutschland-welt/behoerden-ermitteln-nach-toedlichem-unfall-mit-uber-roboterwagen,Qmp87GT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cdn2.unrealengine.com/Unreal+Engine/spotlights/carla-democratizes-autonomous-vehicle-r-d-with-free-open-source-simulator/Spotlight_CARLA_blog_body_img6-1640x1000-eeea5b85b7ae79fbeea32eb669226974d5e581ef.jpg" TargetMode="External"/><Relationship Id="rId2" Type="http://schemas.microsoft.com/office/2018/10/relationships/comments" Target="../comments/modernComment_A3B_9C88ABD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5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microsoft.com/office/2018/10/relationships/comments" Target="../comments/modernComment_A3C_9A448F38.xml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microsoft.com/office/2018/10/relationships/comments" Target="../comments/modernComment_A41_745B324F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30.png"/><Relationship Id="rId4" Type="http://schemas.microsoft.com/office/2018/10/relationships/comments" Target="../comments/modernComment_A38_FF1C4910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59_DA1C660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3F_C0E2E1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A5A_C1E601F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CARLA-Falsifikation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Axel Böll</a:t>
            </a:r>
          </a:p>
          <a:p>
            <a:r>
              <a:rPr lang="de-DE"/>
              <a:t>26.09.2022,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0063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39A32FC-912B-0817-7C33-1386CF795DCD}"/>
              </a:ext>
            </a:extLst>
          </p:cNvPr>
          <p:cNvCxnSpPr/>
          <p:nvPr/>
        </p:nvCxnSpPr>
        <p:spPr>
          <a:xfrm flipV="1">
            <a:off x="7734822" y="3743486"/>
            <a:ext cx="739092" cy="3511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8F849E6-7EDD-6684-4C6E-D1F4B9A18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  <a:endParaRPr lang="en-GB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E5C04B6-421D-0F54-937C-6E2E7D67859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7FCEFB8-EEA3-327A-FE86-28C85FD9A5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2.2019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2C3C21C-F2DE-85E5-4DB8-97DE0C08BB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C8C4AE8-0AC9-29F5-9793-408573549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2F6194D1-2198-5388-2607-C3426ACD64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22" y="2034694"/>
            <a:ext cx="1403450" cy="78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B82D6F68-E739-27FC-1A92-3041E3F738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914" y="4751220"/>
            <a:ext cx="2807571" cy="160833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31362E8-8AFD-6AC0-DD42-E06549E9492A}"/>
              </a:ext>
            </a:extLst>
          </p:cNvPr>
          <p:cNvSpPr txBox="1"/>
          <p:nvPr/>
        </p:nvSpPr>
        <p:spPr>
          <a:xfrm>
            <a:off x="6797918" y="3942343"/>
            <a:ext cx="145928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200">
                <a:solidFill>
                  <a:schemeClr val="bg1"/>
                </a:solidFill>
                <a:highlight>
                  <a:srgbClr val="000000"/>
                </a:highlight>
              </a:rPr>
              <a:t>Carla</a:t>
            </a:r>
            <a:endParaRPr lang="en-GB" sz="320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1E39CDB2-00EC-9DF9-AB39-0C18A52410A3}"/>
              </a:ext>
            </a:extLst>
          </p:cNvPr>
          <p:cNvCxnSpPr>
            <a:stCxn id="13" idx="0"/>
            <a:endCxn id="12" idx="0"/>
          </p:cNvCxnSpPr>
          <p:nvPr/>
        </p:nvCxnSpPr>
        <p:spPr>
          <a:xfrm rot="16200000" flipH="1">
            <a:off x="5625609" y="2040393"/>
            <a:ext cx="397713" cy="3406186"/>
          </a:xfrm>
          <a:prstGeom prst="bentConnector3">
            <a:avLst>
              <a:gd name="adj1" fmla="val -1377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7CB49D5-1D8E-4520-6428-039C86EBA666}"/>
              </a:ext>
            </a:extLst>
          </p:cNvPr>
          <p:cNvCxnSpPr>
            <a:stCxn id="12" idx="2"/>
            <a:endCxn id="13" idx="2"/>
          </p:cNvCxnSpPr>
          <p:nvPr/>
        </p:nvCxnSpPr>
        <p:spPr>
          <a:xfrm rot="5400000">
            <a:off x="5777101" y="2871390"/>
            <a:ext cx="94730" cy="3406186"/>
          </a:xfrm>
          <a:prstGeom prst="bentConnector3">
            <a:avLst>
              <a:gd name="adj1" fmla="val 81734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C9369E0-1B38-C4EF-C2C3-F53676F41E1C}"/>
              </a:ext>
            </a:extLst>
          </p:cNvPr>
          <p:cNvSpPr txBox="1"/>
          <p:nvPr/>
        </p:nvSpPr>
        <p:spPr>
          <a:xfrm>
            <a:off x="4825514" y="2614892"/>
            <a:ext cx="19979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/>
              <a:t>Ac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C993B2-7338-BA3B-2033-FC8C183BAB46}"/>
              </a:ext>
            </a:extLst>
          </p:cNvPr>
          <p:cNvSpPr txBox="1"/>
          <p:nvPr/>
        </p:nvSpPr>
        <p:spPr>
          <a:xfrm>
            <a:off x="4825514" y="5319432"/>
            <a:ext cx="19979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/>
              <a:t>State, Reward</a:t>
            </a:r>
          </a:p>
        </p:txBody>
      </p:sp>
      <p:pic>
        <p:nvPicPr>
          <p:cNvPr id="25" name="Picture 4">
            <a:extLst>
              <a:ext uri="{FF2B5EF4-FFF2-40B4-BE49-F238E27FC236}">
                <a16:creationId xmlns:a16="http://schemas.microsoft.com/office/drawing/2014/main" id="{D9953523-31D5-58E5-F2D6-9DE3AE272F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00" y="5671811"/>
            <a:ext cx="1563361" cy="328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68D6253-7227-C7B9-A4D6-5BBC4FDD865F}"/>
              </a:ext>
            </a:extLst>
          </p:cNvPr>
          <p:cNvSpPr txBox="1"/>
          <p:nvPr/>
        </p:nvSpPr>
        <p:spPr>
          <a:xfrm>
            <a:off x="5960960" y="1956950"/>
            <a:ext cx="1549897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err="1">
                <a:solidFill>
                  <a:schemeClr val="bg1"/>
                </a:solidFill>
                <a:highlight>
                  <a:srgbClr val="000000"/>
                </a:highlight>
              </a:rPr>
              <a:t>OpenAI</a:t>
            </a:r>
            <a:r>
              <a:rPr lang="de-DE">
                <a:solidFill>
                  <a:schemeClr val="bg1"/>
                </a:solidFill>
                <a:highlight>
                  <a:srgbClr val="000000"/>
                </a:highlight>
              </a:rPr>
              <a:t> </a:t>
            </a:r>
            <a:r>
              <a:rPr lang="de-DE" err="1">
                <a:solidFill>
                  <a:schemeClr val="bg1"/>
                </a:solidFill>
                <a:highlight>
                  <a:srgbClr val="000000"/>
                </a:highlight>
              </a:rPr>
              <a:t>Gym</a:t>
            </a:r>
            <a:endParaRPr lang="de-DE">
              <a:solidFill>
                <a:schemeClr val="bg1"/>
              </a:solidFill>
              <a:highlight>
                <a:srgbClr val="000000"/>
              </a:highlight>
            </a:endParaRPr>
          </a:p>
          <a:p>
            <a:endParaRPr lang="de-DE" sz="1050"/>
          </a:p>
          <a:p>
            <a:endParaRPr lang="en-GB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B14D8FB-8045-89DF-F29F-EFDEB183F448}"/>
              </a:ext>
            </a:extLst>
          </p:cNvPr>
          <p:cNvSpPr txBox="1"/>
          <p:nvPr/>
        </p:nvSpPr>
        <p:spPr>
          <a:xfrm>
            <a:off x="455294" y="3468993"/>
            <a:ext cx="1532820" cy="12319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>
                <a:solidFill>
                  <a:schemeClr val="bg1"/>
                </a:solidFill>
                <a:highlight>
                  <a:srgbClr val="000000"/>
                </a:highlight>
              </a:rPr>
              <a:t>Proximal Policy Optimization (PPO)</a:t>
            </a:r>
          </a:p>
        </p:txBody>
      </p:sp>
      <p:cxnSp>
        <p:nvCxnSpPr>
          <p:cNvPr id="31" name="Straight Connector 30" descr="Visu">
            <a:extLst>
              <a:ext uri="{FF2B5EF4-FFF2-40B4-BE49-F238E27FC236}">
                <a16:creationId xmlns:a16="http://schemas.microsoft.com/office/drawing/2014/main" id="{ABFC1606-9475-6B84-ECC2-17E9C4EE2747}"/>
              </a:ext>
            </a:extLst>
          </p:cNvPr>
          <p:cNvCxnSpPr>
            <a:cxnSpLocks/>
            <a:endCxn id="32" idx="2"/>
          </p:cNvCxnSpPr>
          <p:nvPr/>
        </p:nvCxnSpPr>
        <p:spPr>
          <a:xfrm flipH="1" flipV="1">
            <a:off x="2929312" y="3161856"/>
            <a:ext cx="753658" cy="5044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51C80369-F470-E414-6510-14A6125B5D86}"/>
              </a:ext>
            </a:extLst>
          </p:cNvPr>
          <p:cNvSpPr txBox="1"/>
          <p:nvPr/>
        </p:nvSpPr>
        <p:spPr>
          <a:xfrm>
            <a:off x="2276725" y="2900246"/>
            <a:ext cx="13051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/>
              <a:t>Visualisierung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3152F25-1AC5-A256-48D4-6394250096E1}"/>
              </a:ext>
            </a:extLst>
          </p:cNvPr>
          <p:cNvCxnSpPr>
            <a:cxnSpLocks/>
          </p:cNvCxnSpPr>
          <p:nvPr/>
        </p:nvCxnSpPr>
        <p:spPr>
          <a:xfrm flipH="1" flipV="1">
            <a:off x="1929066" y="2493460"/>
            <a:ext cx="519772" cy="3277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8CD5575-7E93-9A56-A5D6-279DB4AC44A2}"/>
              </a:ext>
            </a:extLst>
          </p:cNvPr>
          <p:cNvSpPr txBox="1"/>
          <p:nvPr/>
        </p:nvSpPr>
        <p:spPr>
          <a:xfrm>
            <a:off x="2929312" y="3544630"/>
            <a:ext cx="238412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200" err="1">
                <a:solidFill>
                  <a:schemeClr val="bg1"/>
                </a:solidFill>
                <a:highlight>
                  <a:srgbClr val="000000"/>
                </a:highlight>
              </a:rPr>
              <a:t>Stable</a:t>
            </a:r>
            <a:r>
              <a:rPr lang="de-DE" sz="3200">
                <a:solidFill>
                  <a:schemeClr val="bg1"/>
                </a:solidFill>
                <a:highlight>
                  <a:srgbClr val="000000"/>
                </a:highlight>
              </a:rPr>
              <a:t> Baseline3</a:t>
            </a:r>
            <a:endParaRPr lang="en-GB" sz="320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3AB6C54-70EA-9E52-12CD-FDDF4C6433D2}"/>
              </a:ext>
            </a:extLst>
          </p:cNvPr>
          <p:cNvCxnSpPr>
            <a:stCxn id="29" idx="3"/>
            <a:endCxn id="13" idx="1"/>
          </p:cNvCxnSpPr>
          <p:nvPr/>
        </p:nvCxnSpPr>
        <p:spPr>
          <a:xfrm flipV="1">
            <a:off x="1988114" y="4083239"/>
            <a:ext cx="941198" cy="17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E08498D7-D321-4D41-7678-9207240EBDC5}"/>
              </a:ext>
            </a:extLst>
          </p:cNvPr>
          <p:cNvSpPr txBox="1"/>
          <p:nvPr/>
        </p:nvSpPr>
        <p:spPr>
          <a:xfrm>
            <a:off x="2083588" y="3833065"/>
            <a:ext cx="7045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/>
              <a:t>Policy</a:t>
            </a:r>
            <a:endParaRPr lang="en-GB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50E602A-F2C1-B0DA-22EF-1506FEEF56B8}"/>
              </a:ext>
            </a:extLst>
          </p:cNvPr>
          <p:cNvSpPr txBox="1"/>
          <p:nvPr/>
        </p:nvSpPr>
        <p:spPr>
          <a:xfrm>
            <a:off x="1929066" y="5053002"/>
            <a:ext cx="13051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/>
              <a:t>Optimierung</a:t>
            </a:r>
          </a:p>
        </p:txBody>
      </p:sp>
      <p:cxnSp>
        <p:nvCxnSpPr>
          <p:cNvPr id="59" name="Straight Connector 58" descr="Visu">
            <a:extLst>
              <a:ext uri="{FF2B5EF4-FFF2-40B4-BE49-F238E27FC236}">
                <a16:creationId xmlns:a16="http://schemas.microsoft.com/office/drawing/2014/main" id="{D9BBF5C8-4BC5-57A3-8791-65D6B190946C}"/>
              </a:ext>
            </a:extLst>
          </p:cNvPr>
          <p:cNvCxnSpPr>
            <a:cxnSpLocks/>
          </p:cNvCxnSpPr>
          <p:nvPr/>
        </p:nvCxnSpPr>
        <p:spPr>
          <a:xfrm flipH="1">
            <a:off x="2725570" y="4517891"/>
            <a:ext cx="909870" cy="5351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 descr="Visu">
            <a:extLst>
              <a:ext uri="{FF2B5EF4-FFF2-40B4-BE49-F238E27FC236}">
                <a16:creationId xmlns:a16="http://schemas.microsoft.com/office/drawing/2014/main" id="{FEA85ACD-F9C9-1D22-FB25-6F1607C1DD32}"/>
              </a:ext>
            </a:extLst>
          </p:cNvPr>
          <p:cNvCxnSpPr>
            <a:cxnSpLocks/>
          </p:cNvCxnSpPr>
          <p:nvPr/>
        </p:nvCxnSpPr>
        <p:spPr>
          <a:xfrm flipH="1">
            <a:off x="1720008" y="5258636"/>
            <a:ext cx="647411" cy="3779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750CF2C-722D-3151-49CA-D3FCF75E380E}"/>
              </a:ext>
            </a:extLst>
          </p:cNvPr>
          <p:cNvCxnSpPr>
            <a:cxnSpLocks/>
          </p:cNvCxnSpPr>
          <p:nvPr/>
        </p:nvCxnSpPr>
        <p:spPr>
          <a:xfrm flipH="1">
            <a:off x="6350696" y="2337581"/>
            <a:ext cx="325677" cy="3109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6EC7E8C-E99B-C9F8-083B-3C111B7FBDE8}"/>
              </a:ext>
            </a:extLst>
          </p:cNvPr>
          <p:cNvSpPr txBox="1"/>
          <p:nvPr/>
        </p:nvSpPr>
        <p:spPr>
          <a:xfrm>
            <a:off x="4825514" y="2615385"/>
            <a:ext cx="19979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/>
              <a:t>Action, Ticks</a:t>
            </a:r>
          </a:p>
        </p:txBody>
      </p:sp>
      <p:pic>
        <p:nvPicPr>
          <p:cNvPr id="1026" name="Picture 2" descr="Data Visualization with Matplotlib and Seaborn">
            <a:extLst>
              <a:ext uri="{FF2B5EF4-FFF2-40B4-BE49-F238E27FC236}">
                <a16:creationId xmlns:a16="http://schemas.microsoft.com/office/drawing/2014/main" id="{2C0C93D3-8AE9-4214-1BD6-1144BACB5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050" y="1770669"/>
            <a:ext cx="618634" cy="618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nhaltsplatzhalter 8" descr="A busy street with cars and buildings&#10;&#10;Description automatically generated with low confidence">
            <a:hlinkClick r:id="rId6"/>
            <a:extLst>
              <a:ext uri="{FF2B5EF4-FFF2-40B4-BE49-F238E27FC236}">
                <a16:creationId xmlns:a16="http://schemas.microsoft.com/office/drawing/2014/main" id="{ADF2C7C1-304D-8B06-7C93-F4A8708C796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489" r="146" b="1"/>
          <a:stretch/>
        </p:blipFill>
        <p:spPr>
          <a:xfrm>
            <a:off x="8362553" y="2204459"/>
            <a:ext cx="2970580" cy="2004253"/>
          </a:xfrm>
        </p:spPr>
      </p:pic>
    </p:spTree>
    <p:extLst>
      <p:ext uri="{BB962C8B-B14F-4D97-AF65-F5344CB8AC3E}">
        <p14:creationId xmlns:p14="http://schemas.microsoft.com/office/powerpoint/2010/main" val="1044947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  <p:bldP spid="32" grpId="0"/>
      <p:bldP spid="55" grpId="0"/>
      <p:bldP spid="56" grpId="0"/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76E601-76BA-2B2D-B1E2-8CF30A670CD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/>
              <a:t>Agenten Verhalten: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Verschiedene Wege testen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Neue Wege erkunden vs. alte Verbessern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 Ziel: Reward Maximierung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/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/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/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BEFD117-5D20-FF1F-8300-DE78B8A01DB1}"/>
              </a:ext>
            </a:extLst>
          </p:cNvPr>
          <p:cNvSpPr/>
          <p:nvPr/>
        </p:nvSpPr>
        <p:spPr>
          <a:xfrm>
            <a:off x="3858491" y="4201722"/>
            <a:ext cx="371103" cy="730496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Content Placeholder 9" descr="A picture containing text&#10;&#10;Description automatically generated">
            <a:extLst>
              <a:ext uri="{FF2B5EF4-FFF2-40B4-BE49-F238E27FC236}">
                <a16:creationId xmlns:a16="http://schemas.microsoft.com/office/drawing/2014/main" id="{A26B728E-7EDD-91AA-2265-E77E0AEF322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4"/>
          <a:srcRect b="14140"/>
          <a:stretch/>
        </p:blipFill>
        <p:spPr>
          <a:xfrm>
            <a:off x="720725" y="1676688"/>
            <a:ext cx="5195888" cy="4638098"/>
          </a:xfrm>
          <a:prstGeom prst="rect">
            <a:avLst/>
          </a:prstGeom>
        </p:spPr>
      </p:pic>
      <p:sp>
        <p:nvSpPr>
          <p:cNvPr id="5" name="Subtitle 4">
            <a:extLst>
              <a:ext uri="{FF2B5EF4-FFF2-40B4-BE49-F238E27FC236}">
                <a16:creationId xmlns:a16="http://schemas.microsoft.com/office/drawing/2014/main" id="{AD58123B-223F-5CD0-6A47-0FF2EA6DE9C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39115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4DD0D8-D34D-28BB-9FCD-66EB20FA0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68EAD3-2123-37C8-7372-486CE940597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/>
              <a:t>Fortlaufende</a:t>
            </a:r>
            <a:r>
              <a:rPr lang="en-GB" b="1"/>
              <a:t> Rewards: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/>
              <a:t>Distance Auto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/>
              <a:t>Winkel </a:t>
            </a:r>
            <a:r>
              <a:rPr lang="de-DE"/>
              <a:t>zum</a:t>
            </a:r>
            <a:r>
              <a:rPr lang="en-GB"/>
              <a:t> Auto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AB5E4E-0883-085B-E9BF-8396A66FCFB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b="1"/>
              <a:t>Extra-Reward: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Kollision mit Fußgänger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Kollision Fahrzeug mit Objekt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Vollbremsung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Sehr nah am Fußgänger vorbei fahren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A3DDFFC-5185-B914-F16A-ED966B75C76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/>
              <a:t>Reward-Desig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48504BC-93E3-1CAC-3E7B-4821BEFC238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2.2019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980E8D5-26A9-AF86-A861-AD834E513F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5AA6C0E-63C8-11D6-A036-AEE47E6966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A857A0-051F-9448-3756-9707B5071D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19" t="16048"/>
          <a:stretch/>
        </p:blipFill>
        <p:spPr>
          <a:xfrm>
            <a:off x="719400" y="3123644"/>
            <a:ext cx="3804071" cy="201239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8A188A1-915F-E1C4-9E07-CE666E90BD4B}"/>
              </a:ext>
            </a:extLst>
          </p:cNvPr>
          <p:cNvSpPr/>
          <p:nvPr/>
        </p:nvSpPr>
        <p:spPr>
          <a:xfrm>
            <a:off x="876302" y="3933101"/>
            <a:ext cx="3467686" cy="1097280"/>
          </a:xfrm>
          <a:prstGeom prst="rect">
            <a:avLst/>
          </a:prstGeom>
          <a:solidFill>
            <a:schemeClr val="accent3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9105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3975DF25-676D-7096-F6DF-A0BB5BBC1D2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BEFD117-5D20-FF1F-8300-DE78B8A01DB1}"/>
              </a:ext>
            </a:extLst>
          </p:cNvPr>
          <p:cNvSpPr/>
          <p:nvPr/>
        </p:nvSpPr>
        <p:spPr>
          <a:xfrm>
            <a:off x="3858491" y="4201722"/>
            <a:ext cx="371103" cy="730496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896CA901-765C-BC47-7186-696BFC0E044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4"/>
          <a:srcRect l="52955" t="5951" r="640" b="570"/>
          <a:stretch/>
        </p:blipFill>
        <p:spPr>
          <a:xfrm>
            <a:off x="1231354" y="1673225"/>
            <a:ext cx="4174630" cy="4645025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032423E-7EB1-89A5-9CDD-85B8F397BB59}"/>
              </a:ext>
            </a:extLst>
          </p:cNvPr>
          <p:cNvCxnSpPr>
            <a:cxnSpLocks/>
          </p:cNvCxnSpPr>
          <p:nvPr/>
        </p:nvCxnSpPr>
        <p:spPr>
          <a:xfrm flipH="1">
            <a:off x="4883720" y="3618713"/>
            <a:ext cx="373966" cy="434377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35F2AA4-9C99-562B-8602-B4D577A11DD1}"/>
              </a:ext>
            </a:extLst>
          </p:cNvPr>
          <p:cNvCxnSpPr>
            <a:cxnSpLocks/>
          </p:cNvCxnSpPr>
          <p:nvPr/>
        </p:nvCxnSpPr>
        <p:spPr>
          <a:xfrm flipV="1">
            <a:off x="4883720" y="3039598"/>
            <a:ext cx="0" cy="778803"/>
          </a:xfrm>
          <a:prstGeom prst="straightConnector1">
            <a:avLst/>
          </a:prstGeom>
          <a:ln w="28575">
            <a:solidFill>
              <a:srgbClr val="F6A8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03E2BC07-AC1E-33FC-425B-47853A9B575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5"/>
          <a:srcRect l="2007" t="5140" r="63223" b="53040"/>
          <a:stretch/>
        </p:blipFill>
        <p:spPr>
          <a:xfrm>
            <a:off x="6342153" y="1988126"/>
            <a:ext cx="5067119" cy="4015222"/>
          </a:xfrm>
          <a:prstGeom prst="rect">
            <a:avLst/>
          </a:prstGeom>
        </p:spPr>
      </p:pic>
      <p:pic>
        <p:nvPicPr>
          <p:cNvPr id="23" name="Picture 2" descr="Data Visualization with Matplotlib and Seaborn">
            <a:extLst>
              <a:ext uri="{FF2B5EF4-FFF2-40B4-BE49-F238E27FC236}">
                <a16:creationId xmlns:a16="http://schemas.microsoft.com/office/drawing/2014/main" id="{A403BC23-FE3B-C44F-002D-23EDC05903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5745" y="1613602"/>
            <a:ext cx="618634" cy="618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1AB6512-C55E-D385-45F8-B484E0EF58EF}"/>
              </a:ext>
            </a:extLst>
          </p:cNvPr>
          <p:cNvSpPr txBox="1"/>
          <p:nvPr/>
        </p:nvSpPr>
        <p:spPr>
          <a:xfrm rot="16200000">
            <a:off x="5791139" y="2625020"/>
            <a:ext cx="9322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solidFill>
                  <a:schemeClr val="accent3">
                    <a:lumMod val="75000"/>
                  </a:schemeClr>
                </a:solidFill>
              </a:rPr>
              <a:t>Rewar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686B9C1-A3C1-4159-3A45-FD5ADA82B7CC}"/>
              </a:ext>
            </a:extLst>
          </p:cNvPr>
          <p:cNvSpPr txBox="1"/>
          <p:nvPr/>
        </p:nvSpPr>
        <p:spPr>
          <a:xfrm>
            <a:off x="9635793" y="5828261"/>
            <a:ext cx="1773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solidFill>
                  <a:schemeClr val="accent3">
                    <a:lumMod val="75000"/>
                  </a:schemeClr>
                </a:solidFill>
              </a:rPr>
              <a:t>Simulationsschritt</a:t>
            </a:r>
          </a:p>
        </p:txBody>
      </p:sp>
    </p:spTree>
    <p:extLst>
      <p:ext uri="{BB962C8B-B14F-4D97-AF65-F5344CB8AC3E}">
        <p14:creationId xmlns:p14="http://schemas.microsoft.com/office/powerpoint/2010/main" val="202794936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3975DF25-676D-7096-F6DF-A0BB5BBC1D2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BEFD117-5D20-FF1F-8300-DE78B8A01DB1}"/>
              </a:ext>
            </a:extLst>
          </p:cNvPr>
          <p:cNvSpPr/>
          <p:nvPr/>
        </p:nvSpPr>
        <p:spPr>
          <a:xfrm>
            <a:off x="3858491" y="4201722"/>
            <a:ext cx="371103" cy="730496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896CA901-765C-BC47-7186-696BFC0E044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52955" t="5951" r="640" b="570"/>
          <a:stretch/>
        </p:blipFill>
        <p:spPr>
          <a:xfrm>
            <a:off x="1231354" y="1673225"/>
            <a:ext cx="4174630" cy="4645025"/>
          </a:xfrm>
          <a:prstGeom prst="rect">
            <a:avLst/>
          </a:prstGeom>
        </p:spPr>
      </p:pic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A3D6D783-1FDE-325F-9F7C-0C15B239BC5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55" t="9494" r="53596" b="32323"/>
          <a:stretch/>
        </p:blipFill>
        <p:spPr>
          <a:xfrm>
            <a:off x="6278563" y="2163275"/>
            <a:ext cx="5194300" cy="366492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3571157-03F1-7256-3B62-D5082DA0FCCD}"/>
              </a:ext>
            </a:extLst>
          </p:cNvPr>
          <p:cNvCxnSpPr>
            <a:cxnSpLocks/>
          </p:cNvCxnSpPr>
          <p:nvPr/>
        </p:nvCxnSpPr>
        <p:spPr>
          <a:xfrm flipH="1">
            <a:off x="4399808" y="3495768"/>
            <a:ext cx="857878" cy="61685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4306FC3-960D-C5F8-ECB3-A00A19D4041A}"/>
              </a:ext>
            </a:extLst>
          </p:cNvPr>
          <p:cNvCxnSpPr>
            <a:cxnSpLocks/>
          </p:cNvCxnSpPr>
          <p:nvPr/>
        </p:nvCxnSpPr>
        <p:spPr>
          <a:xfrm>
            <a:off x="4399808" y="4237419"/>
            <a:ext cx="255319" cy="105303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F96CE35-4D52-A5EF-EDF5-20427ADD76AB}"/>
              </a:ext>
            </a:extLst>
          </p:cNvPr>
          <p:cNvSpPr txBox="1"/>
          <p:nvPr/>
        </p:nvSpPr>
        <p:spPr>
          <a:xfrm rot="16200000">
            <a:off x="5791139" y="2625020"/>
            <a:ext cx="9322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solidFill>
                  <a:schemeClr val="accent3">
                    <a:lumMod val="75000"/>
                  </a:schemeClr>
                </a:solidFill>
              </a:rPr>
              <a:t>Rewar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F0AE7F-076C-CC11-0772-F395EAE24902}"/>
              </a:ext>
            </a:extLst>
          </p:cNvPr>
          <p:cNvSpPr txBox="1"/>
          <p:nvPr/>
        </p:nvSpPr>
        <p:spPr>
          <a:xfrm>
            <a:off x="9425750" y="5658146"/>
            <a:ext cx="1773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solidFill>
                  <a:schemeClr val="accent3">
                    <a:lumMod val="75000"/>
                  </a:schemeClr>
                </a:solidFill>
              </a:rPr>
              <a:t>Simulationsschritt</a:t>
            </a:r>
          </a:p>
        </p:txBody>
      </p:sp>
      <p:pic>
        <p:nvPicPr>
          <p:cNvPr id="24" name="Picture 2" descr="Data Visualization with Matplotlib and Seaborn">
            <a:extLst>
              <a:ext uri="{FF2B5EF4-FFF2-40B4-BE49-F238E27FC236}">
                <a16:creationId xmlns:a16="http://schemas.microsoft.com/office/drawing/2014/main" id="{15649CBC-4B93-3D2E-B3D1-A794C01A5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5745" y="1613602"/>
            <a:ext cx="618634" cy="618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97386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3975DF25-676D-7096-F6DF-A0BB5BBC1D2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BEFD117-5D20-FF1F-8300-DE78B8A01DB1}"/>
              </a:ext>
            </a:extLst>
          </p:cNvPr>
          <p:cNvSpPr/>
          <p:nvPr/>
        </p:nvSpPr>
        <p:spPr>
          <a:xfrm>
            <a:off x="3858491" y="4201722"/>
            <a:ext cx="371103" cy="730496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896CA901-765C-BC47-7186-696BFC0E044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52955" t="5951" r="640" b="570"/>
          <a:stretch/>
        </p:blipFill>
        <p:spPr>
          <a:xfrm>
            <a:off x="1231354" y="1673225"/>
            <a:ext cx="4174630" cy="464502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3571157-03F1-7256-3B62-D5082DA0FCCD}"/>
              </a:ext>
            </a:extLst>
          </p:cNvPr>
          <p:cNvCxnSpPr>
            <a:cxnSpLocks/>
          </p:cNvCxnSpPr>
          <p:nvPr/>
        </p:nvCxnSpPr>
        <p:spPr>
          <a:xfrm flipH="1">
            <a:off x="4399808" y="3495768"/>
            <a:ext cx="857878" cy="61685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4306FC3-960D-C5F8-ECB3-A00A19D4041A}"/>
              </a:ext>
            </a:extLst>
          </p:cNvPr>
          <p:cNvCxnSpPr>
            <a:cxnSpLocks/>
          </p:cNvCxnSpPr>
          <p:nvPr/>
        </p:nvCxnSpPr>
        <p:spPr>
          <a:xfrm>
            <a:off x="4399808" y="4237419"/>
            <a:ext cx="255319" cy="105303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Content Placeholder 17" descr="Chart, line chart&#10;&#10;Description automatically generated">
            <a:extLst>
              <a:ext uri="{FF2B5EF4-FFF2-40B4-BE49-F238E27FC236}">
                <a16:creationId xmlns:a16="http://schemas.microsoft.com/office/drawing/2014/main" id="{9C485A46-5D7B-7E47-0BC8-8597F9C7A71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278563" y="2640417"/>
            <a:ext cx="5194300" cy="2710641"/>
          </a:xfr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B26E0B1-97CF-EEDE-F88E-72097E3B177F}"/>
              </a:ext>
            </a:extLst>
          </p:cNvPr>
          <p:cNvSpPr txBox="1"/>
          <p:nvPr/>
        </p:nvSpPr>
        <p:spPr>
          <a:xfrm>
            <a:off x="10907486" y="5351058"/>
            <a:ext cx="9322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solidFill>
                  <a:schemeClr val="accent3">
                    <a:lumMod val="75000"/>
                  </a:schemeClr>
                </a:solidFill>
              </a:rPr>
              <a:t>Step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C299BFB-BBF3-7DEA-7019-485F570D413C}"/>
              </a:ext>
            </a:extLst>
          </p:cNvPr>
          <p:cNvSpPr txBox="1"/>
          <p:nvPr/>
        </p:nvSpPr>
        <p:spPr>
          <a:xfrm rot="16200000">
            <a:off x="5737616" y="2799098"/>
            <a:ext cx="9322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solidFill>
                  <a:schemeClr val="accent3">
                    <a:lumMod val="75000"/>
                  </a:schemeClr>
                </a:solidFill>
              </a:rPr>
              <a:t>Reward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AAB4683-E517-DA4A-F1BF-B4ED143BAEF0}"/>
              </a:ext>
            </a:extLst>
          </p:cNvPr>
          <p:cNvCxnSpPr>
            <a:cxnSpLocks/>
          </p:cNvCxnSpPr>
          <p:nvPr/>
        </p:nvCxnSpPr>
        <p:spPr>
          <a:xfrm flipH="1">
            <a:off x="4880155" y="3560683"/>
            <a:ext cx="373966" cy="434377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78B0F2B-89DA-5D9B-754B-30191244C6D1}"/>
              </a:ext>
            </a:extLst>
          </p:cNvPr>
          <p:cNvCxnSpPr>
            <a:cxnSpLocks/>
          </p:cNvCxnSpPr>
          <p:nvPr/>
        </p:nvCxnSpPr>
        <p:spPr>
          <a:xfrm flipV="1">
            <a:off x="4880155" y="2981568"/>
            <a:ext cx="0" cy="778803"/>
          </a:xfrm>
          <a:prstGeom prst="straightConnector1">
            <a:avLst/>
          </a:prstGeom>
          <a:ln w="28575">
            <a:solidFill>
              <a:srgbClr val="F6A8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6">
            <a:extLst>
              <a:ext uri="{FF2B5EF4-FFF2-40B4-BE49-F238E27FC236}">
                <a16:creationId xmlns:a16="http://schemas.microsoft.com/office/drawing/2014/main" id="{89F80387-2AD3-D1F0-F6BB-7C91B43CE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141" y="1711445"/>
            <a:ext cx="1657267" cy="932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92512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0AFE9F-454F-F4B1-875B-2721CF5E3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  <a:endParaRPr lang="en-GB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ECA4BAE-43AA-2577-4111-2DC3E45C433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/>
              <a:t>Optuna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AD22186-497A-2871-16E1-1C8EB26424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68A53A2-8F3D-B2DD-14DD-0FA52AD558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B19BB57-90C1-ACD1-2F9A-3C2445CA2E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6</a:t>
            </a:fld>
            <a:endParaRPr lang="de-DE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1B22390-B7F2-ADB1-7FDA-98A79683D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9909" t="12361" b="58759"/>
          <a:stretch/>
        </p:blipFill>
        <p:spPr>
          <a:xfrm>
            <a:off x="2971949" y="4598436"/>
            <a:ext cx="1092051" cy="707648"/>
          </a:xfrm>
          <a:prstGeom prst="rect">
            <a:avLst/>
          </a:prstGeom>
        </p:spPr>
      </p:pic>
      <p:pic>
        <p:nvPicPr>
          <p:cNvPr id="25" name="Content Placeholder 23">
            <a:extLst>
              <a:ext uri="{FF2B5EF4-FFF2-40B4-BE49-F238E27FC236}">
                <a16:creationId xmlns:a16="http://schemas.microsoft.com/office/drawing/2014/main" id="{CA686256-E5C5-3D78-7047-49502CB6789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96415"/>
          <a:stretch/>
        </p:blipFill>
        <p:spPr>
          <a:xfrm>
            <a:off x="4303646" y="3302195"/>
            <a:ext cx="119928" cy="1650065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5" name="Slide Zoom 54">
                <a:extLst>
                  <a:ext uri="{FF2B5EF4-FFF2-40B4-BE49-F238E27FC236}">
                    <a16:creationId xmlns:a16="http://schemas.microsoft.com/office/drawing/2014/main" id="{E3D85C91-7E86-D093-578E-4A555D9D1FB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30215618"/>
                  </p:ext>
                </p:extLst>
              </p:nvPr>
            </p:nvGraphicFramePr>
            <p:xfrm>
              <a:off x="409157" y="2755554"/>
              <a:ext cx="3965198" cy="2230424"/>
            </p:xfrm>
            <a:graphic>
              <a:graphicData uri="http://schemas.microsoft.com/office/powerpoint/2016/slidezoom">
                <pslz:sldZm>
                  <pslz:sldZmObj sldId="2645" cId="2343032619">
                    <pslz:zmPr id="{C108D2BF-A528-47A2-8924-806CE2E05AC6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965198" cy="2230424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5" name="Slide Zoom 54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3D85C91-7E86-D093-578E-4A555D9D1FB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9157" y="2755554"/>
                <a:ext cx="3965198" cy="2230424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7" name="Slide Zoom 56">
                <a:extLst>
                  <a:ext uri="{FF2B5EF4-FFF2-40B4-BE49-F238E27FC236}">
                    <a16:creationId xmlns:a16="http://schemas.microsoft.com/office/drawing/2014/main" id="{B83D7897-BB84-E488-F8B1-DC4647BFFD5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00796184"/>
                  </p:ext>
                </p:extLst>
              </p:nvPr>
            </p:nvGraphicFramePr>
            <p:xfrm>
              <a:off x="4114044" y="2756403"/>
              <a:ext cx="3963688" cy="2229575"/>
            </p:xfrm>
            <a:graphic>
              <a:graphicData uri="http://schemas.microsoft.com/office/powerpoint/2016/slidezoom">
                <pslz:sldZm>
                  <pslz:sldZmObj sldId="2646" cId="746496452">
                    <pslz:zmPr id="{EF799C72-5E02-4F74-964C-6A93001FDDC7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963688" cy="222957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7" name="Slide Zoom 56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B83D7897-BB84-E488-F8B1-DC4647BFFD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114044" y="2756403"/>
                <a:ext cx="3963688" cy="222957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9" name="Slide Zoom 58">
                <a:extLst>
                  <a:ext uri="{FF2B5EF4-FFF2-40B4-BE49-F238E27FC236}">
                    <a16:creationId xmlns:a16="http://schemas.microsoft.com/office/drawing/2014/main" id="{E563BD38-CA09-4F9F-635D-8A25C53E3F5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76061789"/>
                  </p:ext>
                </p:extLst>
              </p:nvPr>
            </p:nvGraphicFramePr>
            <p:xfrm>
              <a:off x="7818843" y="2755554"/>
              <a:ext cx="3965198" cy="2230424"/>
            </p:xfrm>
            <a:graphic>
              <a:graphicData uri="http://schemas.microsoft.com/office/powerpoint/2016/slidezoom">
                <pslz:sldZm>
                  <pslz:sldZmObj sldId="2647" cId="1998797689">
                    <pslz:zmPr id="{FC31BCAA-B327-4FC1-BF2C-520C8D011B55}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965198" cy="2230424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9" name="Slide Zoom 58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E563BD38-CA09-4F9F-635D-8A25C53E3F5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818843" y="2755554"/>
                <a:ext cx="3965198" cy="2230424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60" name="Rectangle 59">
            <a:extLst>
              <a:ext uri="{FF2B5EF4-FFF2-40B4-BE49-F238E27FC236}">
                <a16:creationId xmlns:a16="http://schemas.microsoft.com/office/drawing/2014/main" id="{7ADEF647-A416-8913-E1A9-C78C6364CCD4}"/>
              </a:ext>
            </a:extLst>
          </p:cNvPr>
          <p:cNvSpPr/>
          <p:nvPr/>
        </p:nvSpPr>
        <p:spPr>
          <a:xfrm>
            <a:off x="107260" y="4807730"/>
            <a:ext cx="11842285" cy="13388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AF0E928-2F56-9B3F-2FB5-71DA29D15F9D}"/>
              </a:ext>
            </a:extLst>
          </p:cNvPr>
          <p:cNvSpPr/>
          <p:nvPr/>
        </p:nvSpPr>
        <p:spPr>
          <a:xfrm>
            <a:off x="318655" y="1712328"/>
            <a:ext cx="11630889" cy="14805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1E84C6B-2499-8E75-7576-E5C7ACA46A9C}"/>
              </a:ext>
            </a:extLst>
          </p:cNvPr>
          <p:cNvSpPr/>
          <p:nvPr/>
        </p:nvSpPr>
        <p:spPr>
          <a:xfrm>
            <a:off x="304949" y="3053339"/>
            <a:ext cx="281588" cy="7513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23210E3-541C-6FA1-F50E-E33F9D564069}"/>
              </a:ext>
            </a:extLst>
          </p:cNvPr>
          <p:cNvSpPr/>
          <p:nvPr/>
        </p:nvSpPr>
        <p:spPr>
          <a:xfrm>
            <a:off x="4020983" y="3062183"/>
            <a:ext cx="281838" cy="17455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48AAACC-178D-ECB1-BFBE-99A66FCE1F7A}"/>
              </a:ext>
            </a:extLst>
          </p:cNvPr>
          <p:cNvSpPr/>
          <p:nvPr/>
        </p:nvSpPr>
        <p:spPr>
          <a:xfrm>
            <a:off x="7725133" y="3053339"/>
            <a:ext cx="281838" cy="17455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5747DE7-FF9F-9302-4D40-CA3C1AFA5551}"/>
              </a:ext>
            </a:extLst>
          </p:cNvPr>
          <p:cNvSpPr/>
          <p:nvPr/>
        </p:nvSpPr>
        <p:spPr>
          <a:xfrm>
            <a:off x="304824" y="3254453"/>
            <a:ext cx="281838" cy="17455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63045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1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Falsifikation im Bereich Autonomes Fahr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Reinforcement Learni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8A5245-99B2-4A44-806A-CF23BB425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Einblick ins Projek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/>
              <a:t>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Ausblick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82366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Content Placeholder 18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D603FAD0-A679-1B30-FC6E-2F195E576DC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6458127" y="1673225"/>
            <a:ext cx="4835172" cy="464502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Andere Situationen 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Andere</a:t>
            </a:r>
            <a:r>
              <a:rPr lang="en-GB"/>
              <a:t> </a:t>
            </a:r>
            <a:r>
              <a:rPr lang="de-DE"/>
              <a:t>Methodik</a:t>
            </a:r>
            <a:r>
              <a:rPr lang="en-GB"/>
              <a:t>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/>
              <a:t>Reward-Design</a:t>
            </a:r>
            <a:r>
              <a:rPr lang="de-DE"/>
              <a:t> verbessern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Effizientere Algorithmen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/>
              <a:t>Tooling</a:t>
            </a:r>
            <a:r>
              <a:rPr lang="de-DE"/>
              <a:t> erweitern </a:t>
            </a:r>
          </a:p>
          <a:p>
            <a:pPr marL="298350" indent="-285750">
              <a:buFontTx/>
              <a:buChar char="-"/>
            </a:pPr>
            <a:endParaRPr lang="de-DE"/>
          </a:p>
        </p:txBody>
      </p:sp>
      <p:sp>
        <p:nvSpPr>
          <p:cNvPr id="15" name="Subtitle 14">
            <a:extLst>
              <a:ext uri="{FF2B5EF4-FFF2-40B4-BE49-F238E27FC236}">
                <a16:creationId xmlns:a16="http://schemas.microsoft.com/office/drawing/2014/main" id="{B76DA00B-AA44-D0AB-65D8-60DEF87FAE5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EEF06-6ECE-DBAF-2373-8D3CDC895455}"/>
              </a:ext>
            </a:extLst>
          </p:cNvPr>
          <p:cNvSpPr/>
          <p:nvPr/>
        </p:nvSpPr>
        <p:spPr>
          <a:xfrm>
            <a:off x="9404645" y="4316715"/>
            <a:ext cx="335099" cy="698630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1B10D00-DD1F-AA36-E6CC-598F32F5C4F1}"/>
              </a:ext>
            </a:extLst>
          </p:cNvPr>
          <p:cNvGrpSpPr/>
          <p:nvPr/>
        </p:nvGrpSpPr>
        <p:grpSpPr>
          <a:xfrm>
            <a:off x="6458127" y="1673225"/>
            <a:ext cx="4835172" cy="4644000"/>
            <a:chOff x="4851492" y="1542082"/>
            <a:chExt cx="2489015" cy="2391132"/>
          </a:xfrm>
        </p:grpSpPr>
        <p:pic>
          <p:nvPicPr>
            <p:cNvPr id="21" name="Picture 20" descr="A picture containing text, electronics, circuit&#10;&#10;Description automatically generated">
              <a:extLst>
                <a:ext uri="{FF2B5EF4-FFF2-40B4-BE49-F238E27FC236}">
                  <a16:creationId xmlns:a16="http://schemas.microsoft.com/office/drawing/2014/main" id="{7D1BADE9-435F-A3DF-9F81-E587746161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51492" y="1542082"/>
              <a:ext cx="2489015" cy="2391132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BD85DB3-3F71-5B0D-7557-03208E7D72BC}"/>
                </a:ext>
              </a:extLst>
            </p:cNvPr>
            <p:cNvSpPr/>
            <p:nvPr/>
          </p:nvSpPr>
          <p:spPr>
            <a:xfrm>
              <a:off x="5063319" y="1908691"/>
              <a:ext cx="1518030" cy="1823972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56806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3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ellen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Lange Straße: </a:t>
            </a:r>
            <a:r>
              <a:rPr lang="de-DE" sz="1400">
                <a:hlinkClick r:id="rId2"/>
              </a:rPr>
              <a:t>https://www.dieweltenbummler.de/wp-content/uploads/2017/12/Lange-Stra%C3%9Fe-in-Kalifornien-1536x1024.jpg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Carla: </a:t>
            </a:r>
            <a:r>
              <a:rPr lang="de-DE" sz="1400">
                <a:hlinkClick r:id="rId3"/>
              </a:rPr>
              <a:t>https://cdn2.unrealengine.com/Unreal+Engine%2Fspotlights%2Fcarla-democratizes-autonomous-vehicle-r-d-with-free-open-source-simulator%2FSpotlight_CARLA_blog_body_img6-1640x1000-eeea5b85b7ae79fbeea32eb669226974d5e581ef.jpg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Reinforcement Learning: </a:t>
            </a:r>
            <a:r>
              <a:rPr lang="de-DE" sz="1400">
                <a:hlinkClick r:id="rId4"/>
              </a:rPr>
              <a:t>https://miro.medium.com/max/1400/0*WC4l7u90TsKs_eXj.png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Stable-Baselines3: </a:t>
            </a:r>
            <a:r>
              <a:rPr lang="de-DE" sz="1400">
                <a:hlinkClick r:id="rId5"/>
              </a:rPr>
              <a:t>https://stable-baselines3.readthedocs.io/en/master/_static/logo.png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Optuna: </a:t>
            </a:r>
            <a:r>
              <a:rPr lang="de-DE" sz="1400">
                <a:hlinkClick r:id="rId6"/>
              </a:rPr>
              <a:t>https://raw.githubusercontent.com/optuna/optuna/master/docs/image/optuna-logo.png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TensorBoard: </a:t>
            </a:r>
            <a:r>
              <a:rPr lang="de-DE" sz="1400">
                <a:hlinkClick r:id="rId7"/>
              </a:rPr>
              <a:t>https://www.tensorflow.org/site-assets/images/project-logos/tensorboard-logo-social.png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Algorithmus: </a:t>
            </a:r>
            <a:r>
              <a:rPr lang="de-DE" sz="1400">
                <a:hlinkClick r:id="rId8"/>
              </a:rPr>
              <a:t>https://blog.qbeyond.de/wp-content/uploads/2018/06/Algorithmus-1.jpg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Toolkit: </a:t>
            </a:r>
            <a:r>
              <a:rPr lang="de-DE" sz="1400">
                <a:hlinkClick r:id="rId9"/>
              </a:rPr>
              <a:t>https://thenounproject.com/icon/toolkit-154266/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400"/>
              <a:t>Reward</a:t>
            </a:r>
            <a:r>
              <a:rPr lang="de-DE" sz="1400"/>
              <a:t>: </a:t>
            </a:r>
            <a:r>
              <a:rPr lang="de-DE" sz="1400">
                <a:hlinkClick r:id="rId10"/>
              </a:rPr>
              <a:t>https://www.ambassify.com/hs-fs/hubfs/New%2025%20Employee%20Recognition%20%26%20Rewards%20Ideas-13%202-13.png?width=740&amp;name=New%2025%20Employee%20Recognition%20%26%20Rewards%20Ideas-13%202-13.png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8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8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800"/>
          </a:p>
          <a:p>
            <a:endParaRPr lang="de-DE" sz="800"/>
          </a:p>
        </p:txBody>
      </p:sp>
      <p:sp>
        <p:nvSpPr>
          <p:cNvPr id="11" name="Untertitel 10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/>
              <a:t>Bilder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3902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1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Falsifikation im Bereich Autonomes Fahr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Reinforcement Learni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8A5245-99B2-4A44-806A-CF23BB425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Einblick ins Projek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/>
              <a:t>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Ausblick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45CAA-174E-C180-B530-AB815F5E6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ell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87EED0-332F-0531-8CA0-C80C6C4178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BMW: </a:t>
            </a:r>
            <a:r>
              <a:rPr lang="de-DE" sz="1400">
                <a:hlinkClick r:id="rId3"/>
              </a:rPr>
              <a:t>https://www.br.de/nachrichten/wirtschaft/nach-unfall-mit-bmw-was-ist-autonomes-fahren,TEg0fcF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Uber: </a:t>
            </a:r>
            <a:r>
              <a:rPr lang="de-DE" sz="1400">
                <a:hlinkClick r:id="rId4"/>
              </a:rPr>
              <a:t>https://www.br.de/nachrichten/deutschland-welt/behoerden-ermitteln-nach-toedlichem-unfall-mit-uber-roboterwagen,Qmp87GT</a:t>
            </a:r>
            <a:endParaRPr lang="de-DE" sz="1400"/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Safety-Assessment-Approach: </a:t>
            </a:r>
            <a:r>
              <a:rPr lang="de-DE" sz="1400">
                <a:hlinkClick r:id="rId5"/>
              </a:rPr>
              <a:t>https://mediatum.ub.tum.de/doc/1615375/1615375.pdf</a:t>
            </a:r>
            <a:r>
              <a:rPr lang="de-DE" sz="1400"/>
              <a:t> </a:t>
            </a:r>
          </a:p>
          <a:p>
            <a:pPr marL="1840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/>
              <a:t>Safety-Assessment-Approach: </a:t>
            </a:r>
            <a:r>
              <a:rPr lang="de-DE" sz="1400">
                <a:hlinkClick r:id="rId6"/>
              </a:rPr>
              <a:t>https://ieeexplore.ieee.org/stamp/stamp.jsp?arnumber=9090897</a:t>
            </a:r>
            <a:endParaRPr lang="de-DE" sz="1400"/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400"/>
          </a:p>
          <a:p>
            <a:endParaRPr lang="en-GB" sz="140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B211DEB-95E4-D389-1221-430B476538B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/>
              <a:t>Paper/ Artik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FE4A15-4904-F3CC-331B-D0E86DE1E69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B19AB3-5696-2CAC-60ED-76B41A5406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AC5C23-47FE-2D55-3A75-8834A7B8AE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970333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CARLA-Falsifikation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Axel Böll</a:t>
            </a:r>
          </a:p>
          <a:p>
            <a:r>
              <a:rPr lang="de-DE"/>
              <a:t>26.09.2022,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0371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F2F2B-1AF0-4022-A37C-76E287C8E1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Axel Böll</a:t>
            </a:r>
          </a:p>
          <a:p>
            <a:r>
              <a:rPr lang="de-DE"/>
              <a:t>Lehrstuhl Mechatronik / Fakultät für Angewandte Informatik</a:t>
            </a:r>
          </a:p>
          <a:p>
            <a:r>
              <a:rPr lang="de-DE"/>
              <a:t>Universität Augsburg</a:t>
            </a:r>
          </a:p>
          <a:p>
            <a:r>
              <a:rPr lang="de-DE"/>
              <a:t>Axel.boell@student.uni-augsburg.de</a:t>
            </a:r>
          </a:p>
          <a:p>
            <a:r>
              <a:rPr lang="de-DE"/>
              <a:t>www.uni-augsburg.d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E4386E-DB48-4019-A082-EFD04F003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Vielen Dank für Ihre Aufmerksamkeit</a:t>
            </a:r>
          </a:p>
        </p:txBody>
      </p:sp>
      <p:pic>
        <p:nvPicPr>
          <p:cNvPr id="17" name="Fremdlogo 1">
            <a:extLst>
              <a:ext uri="{FF2B5EF4-FFF2-40B4-BE49-F238E27FC236}">
                <a16:creationId xmlns:a16="http://schemas.microsoft.com/office/drawing/2014/main" id="{40BA2B4F-E79A-4B30-B099-12C1E9A4F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5" name="Logo_Basis_neg." hidden="1">
            <a:extLst>
              <a:ext uri="{FF2B5EF4-FFF2-40B4-BE49-F238E27FC236}">
                <a16:creationId xmlns:a16="http://schemas.microsoft.com/office/drawing/2014/main" id="{242A1C87-F174-4235-8E8C-2B4E7470950E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6" name="Logo_FAI_neg.">
            <a:extLst>
              <a:ext uri="{FF2B5EF4-FFF2-40B4-BE49-F238E27FC236}">
                <a16:creationId xmlns:a16="http://schemas.microsoft.com/office/drawing/2014/main" id="{4B9732E3-3A0C-43F2-8F62-6C1404F68017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JUF_neg." hidden="1">
            <a:extLst>
              <a:ext uri="{FF2B5EF4-FFF2-40B4-BE49-F238E27FC236}">
                <a16:creationId xmlns:a16="http://schemas.microsoft.com/office/drawing/2014/main" id="{1D68CE12-47B0-413A-A2EE-1ACCC8D5AC02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KTF_neg." hidden="1">
            <a:extLst>
              <a:ext uri="{FF2B5EF4-FFF2-40B4-BE49-F238E27FC236}">
                <a16:creationId xmlns:a16="http://schemas.microsoft.com/office/drawing/2014/main" id="{90EE37F4-46FE-4A46-8DE9-C5D444BAF882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MEF_neg." hidden="1">
            <a:extLst>
              <a:ext uri="{FF2B5EF4-FFF2-40B4-BE49-F238E27FC236}">
                <a16:creationId xmlns:a16="http://schemas.microsoft.com/office/drawing/2014/main" id="{03D0F97F-A27E-40AB-AF24-CE30EB67FFF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NTF_neg." hidden="1">
            <a:extLst>
              <a:ext uri="{FF2B5EF4-FFF2-40B4-BE49-F238E27FC236}">
                <a16:creationId xmlns:a16="http://schemas.microsoft.com/office/drawing/2014/main" id="{193829F2-94CC-4D15-A310-41122C1C83E7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PHF_neg." hidden="1">
            <a:extLst>
              <a:ext uri="{FF2B5EF4-FFF2-40B4-BE49-F238E27FC236}">
                <a16:creationId xmlns:a16="http://schemas.microsoft.com/office/drawing/2014/main" id="{0ED4420A-6A6D-4893-BE24-1FAAEC0D64A6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SF_neg." hidden="1">
            <a:extLst>
              <a:ext uri="{FF2B5EF4-FFF2-40B4-BE49-F238E27FC236}">
                <a16:creationId xmlns:a16="http://schemas.microsoft.com/office/drawing/2014/main" id="{F93ACA94-7046-4D77-8BCB-E7E565CAFF4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WWF_neg." hidden="1">
            <a:extLst>
              <a:ext uri="{FF2B5EF4-FFF2-40B4-BE49-F238E27FC236}">
                <a16:creationId xmlns:a16="http://schemas.microsoft.com/office/drawing/2014/main" id="{43F9CDA1-7D12-43AC-9C84-201B56C231ED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751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1BB77A-BB11-5681-27EA-A615E8F192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  <a:endParaRPr lang="en-GB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06B58953-C59E-3546-4FC7-019C80B690A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99D2FF-9D3F-BDCE-30E7-E56BC0B3DC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05E02A-DD69-CDDB-365B-49D68531DA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4ED27C-C6C7-2795-29AB-B7BBAE4A35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3</a:t>
            </a:fld>
            <a:endParaRPr lang="de-DE"/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F900F8E6-7DB4-5A17-FD1F-86CED54945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470" r="-60"/>
          <a:stretch/>
        </p:blipFill>
        <p:spPr>
          <a:xfrm>
            <a:off x="917307" y="1673225"/>
            <a:ext cx="10358974" cy="464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032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1BB77A-BB11-5681-27EA-A615E8F192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  <a:endParaRPr lang="en-GB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06B58953-C59E-3546-4FC7-019C80B690A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99D2FF-9D3F-BDCE-30E7-E56BC0B3DC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05E02A-DD69-CDDB-365B-49D68531DA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4ED27C-C6C7-2795-29AB-B7BBAE4A35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4</a:t>
            </a:fld>
            <a:endParaRPr lang="de-DE"/>
          </a:p>
        </p:txBody>
      </p:sp>
      <p:pic>
        <p:nvPicPr>
          <p:cNvPr id="4" name="Content Placeholder 23">
            <a:extLst>
              <a:ext uri="{FF2B5EF4-FFF2-40B4-BE49-F238E27FC236}">
                <a16:creationId xmlns:a16="http://schemas.microsoft.com/office/drawing/2014/main" id="{C32AB762-A6FB-4B26-61F3-BFDDF32787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5657"/>
          <a:stretch/>
        </p:blipFill>
        <p:spPr>
          <a:xfrm>
            <a:off x="1655140" y="1673225"/>
            <a:ext cx="8883308" cy="464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4964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1BB77A-BB11-5681-27EA-A615E8F192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  <a:endParaRPr lang="en-GB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06B58953-C59E-3546-4FC7-019C80B690A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99D2FF-9D3F-BDCE-30E7-E56BC0B3DC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05E02A-DD69-CDDB-365B-49D68531DA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4ED27C-C6C7-2795-29AB-B7BBAE4A35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4" name="Content Placeholder 38">
            <a:extLst>
              <a:ext uri="{FF2B5EF4-FFF2-40B4-BE49-F238E27FC236}">
                <a16:creationId xmlns:a16="http://schemas.microsoft.com/office/drawing/2014/main" id="{91A3B318-6F54-D590-7855-D5CA7BD025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83200" y="1673225"/>
            <a:ext cx="9627188" cy="4645025"/>
          </a:xfrm>
        </p:spPr>
      </p:pic>
    </p:spTree>
    <p:extLst>
      <p:ext uri="{BB962C8B-B14F-4D97-AF65-F5344CB8AC3E}">
        <p14:creationId xmlns:p14="http://schemas.microsoft.com/office/powerpoint/2010/main" val="19987976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/>
              <a:t>Technologien und Algorithmen: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Carla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Stable-Baselines3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de-DE"/>
              <a:t>Proximal </a:t>
            </a:r>
            <a:r>
              <a:rPr lang="de-DE" err="1"/>
              <a:t>Policy</a:t>
            </a:r>
            <a:r>
              <a:rPr lang="de-DE"/>
              <a:t> </a:t>
            </a:r>
            <a:r>
              <a:rPr lang="de-DE" err="1"/>
              <a:t>Optimization</a:t>
            </a:r>
            <a:r>
              <a:rPr lang="de-DE"/>
              <a:t> (PPO)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err="1"/>
              <a:t>OpenAI</a:t>
            </a:r>
            <a:r>
              <a:rPr lang="de-DE"/>
              <a:t> </a:t>
            </a:r>
            <a:r>
              <a:rPr lang="de-DE" err="1"/>
              <a:t>Gym</a:t>
            </a:r>
            <a:endParaRPr lang="de-DE"/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err="1"/>
              <a:t>Optuna</a:t>
            </a:r>
            <a:endParaRPr lang="de-DE"/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err="1"/>
              <a:t>TensorBoard</a:t>
            </a:r>
            <a:endParaRPr lang="de-DE"/>
          </a:p>
        </p:txBody>
      </p:sp>
      <p:sp>
        <p:nvSpPr>
          <p:cNvPr id="5" name="Untertitel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3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B9DDD9C-5598-96DD-DB57-647AE53149D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/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AB8936-8CA3-2406-FE35-E6400AA7D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665" y="1706235"/>
            <a:ext cx="2445597" cy="2131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DB09526-1B77-AFAE-8A91-DCC0753E4D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064" y="3838192"/>
            <a:ext cx="3122268" cy="655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nhaltsplatzhalter 8">
            <a:extLst>
              <a:ext uri="{FF2B5EF4-FFF2-40B4-BE49-F238E27FC236}">
                <a16:creationId xmlns:a16="http://schemas.microsoft.com/office/drawing/2014/main" id="{2CE76DEB-9761-5923-3248-17951125A8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431" y="4007675"/>
            <a:ext cx="3845846" cy="22031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F8BB2C9-FFA2-AACE-832C-CFE77E2E8762}"/>
              </a:ext>
            </a:extLst>
          </p:cNvPr>
          <p:cNvSpPr/>
          <p:nvPr/>
        </p:nvSpPr>
        <p:spPr>
          <a:xfrm>
            <a:off x="6276002" y="4242180"/>
            <a:ext cx="1921931" cy="16064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518AC684-2EB5-8926-78DA-80B7D0369C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32" y="4447270"/>
            <a:ext cx="2708438" cy="1523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914673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inforcement Learn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/>
              <a:t>Zusammenhang RL-Learning: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i="1"/>
              <a:t>Agent</a:t>
            </a:r>
            <a:r>
              <a:rPr lang="de-DE"/>
              <a:t>: Fußgänger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i="1"/>
              <a:t>Environment</a:t>
            </a:r>
            <a:r>
              <a:rPr lang="de-DE"/>
              <a:t>: Carla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i="1"/>
              <a:t>Actions</a:t>
            </a:r>
            <a:r>
              <a:rPr lang="de-DE"/>
              <a:t>: Richtung und Speed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i="1"/>
              <a:t>State/ Observation</a:t>
            </a:r>
            <a:r>
              <a:rPr lang="de-DE"/>
              <a:t>: Richtung/ Speed von Auto und Fußgänger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 </a:t>
            </a:r>
            <a:r>
              <a:rPr lang="en-GB" b="1" i="1"/>
              <a:t>Reward</a:t>
            </a:r>
            <a:r>
              <a:rPr lang="de-DE" b="1" i="1"/>
              <a:t> Funktion</a:t>
            </a:r>
            <a:r>
              <a:rPr lang="de-DE"/>
              <a:t>: Klassifikation kritische Situationen </a:t>
            </a:r>
          </a:p>
          <a:p>
            <a:pPr marL="298350" indent="-285750">
              <a:buFontTx/>
              <a:buChar char="-"/>
            </a:pPr>
            <a:endParaRPr lang="de-DE"/>
          </a:p>
        </p:txBody>
      </p:sp>
      <p:sp>
        <p:nvSpPr>
          <p:cNvPr id="5" name="Untertitel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3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B9DDD9C-5598-96DD-DB57-647AE53149D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/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1A784F8E-FEF6-B3EB-EB82-F1396CAA29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431" y="4007675"/>
            <a:ext cx="3845846" cy="220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7446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blicke ins Projekt</a:t>
            </a:r>
          </a:p>
        </p:txBody>
      </p:sp>
      <p:sp>
        <p:nvSpPr>
          <p:cNvPr id="5" name="Untertitel 4"/>
          <p:cNvSpPr>
            <a:spLocks noGrp="1"/>
          </p:cNvSpPr>
          <p:nvPr>
            <p:ph type="subTitle" idx="13"/>
          </p:nvPr>
        </p:nvSpPr>
        <p:spPr>
          <a:xfrm>
            <a:off x="719400" y="1193981"/>
            <a:ext cx="10753200" cy="366609"/>
          </a:xfrm>
        </p:spPr>
        <p:txBody>
          <a:bodyPr/>
          <a:lstStyle/>
          <a:p>
            <a:r>
              <a:rPr lang="de-DE"/>
              <a:t>Falsifizierungsbeispiel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3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8</a:t>
            </a:fld>
            <a:endParaRPr lang="de-DE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51A8E43-C36E-3795-B4D4-5CC6E61D13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07" t="5140" r="63223" b="53040"/>
          <a:stretch/>
        </p:blipFill>
        <p:spPr>
          <a:xfrm>
            <a:off x="7785602" y="1698040"/>
            <a:ext cx="2294864" cy="18185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6127BBC-9355-5954-7E48-9F769B2385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55" t="9494" r="53596" b="32323"/>
          <a:stretch/>
        </p:blipFill>
        <p:spPr>
          <a:xfrm>
            <a:off x="4654902" y="1461866"/>
            <a:ext cx="2714924" cy="203211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2F4CF4A-D28B-2FB2-2A8F-C21421AE542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2955" t="5951" r="640" b="570"/>
          <a:stretch/>
        </p:blipFill>
        <p:spPr>
          <a:xfrm>
            <a:off x="1039319" y="1742983"/>
            <a:ext cx="3039758" cy="3588075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36AC613-3F68-6DA3-79D1-A003F64EE625}"/>
              </a:ext>
            </a:extLst>
          </p:cNvPr>
          <p:cNvCxnSpPr>
            <a:cxnSpLocks/>
          </p:cNvCxnSpPr>
          <p:nvPr/>
        </p:nvCxnSpPr>
        <p:spPr>
          <a:xfrm flipH="1">
            <a:off x="3276602" y="3166953"/>
            <a:ext cx="678413" cy="557322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B5FE5EF-3952-7E4A-BFC7-EFD2B555CF7B}"/>
              </a:ext>
            </a:extLst>
          </p:cNvPr>
          <p:cNvCxnSpPr>
            <a:cxnSpLocks/>
          </p:cNvCxnSpPr>
          <p:nvPr/>
        </p:nvCxnSpPr>
        <p:spPr>
          <a:xfrm>
            <a:off x="3276602" y="3783806"/>
            <a:ext cx="216692" cy="63341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D5A9727-1C73-7664-7079-6C5716CC3BD9}"/>
              </a:ext>
            </a:extLst>
          </p:cNvPr>
          <p:cNvCxnSpPr>
            <a:cxnSpLocks/>
          </p:cNvCxnSpPr>
          <p:nvPr/>
        </p:nvCxnSpPr>
        <p:spPr>
          <a:xfrm flipH="1">
            <a:off x="3697055" y="3166953"/>
            <a:ext cx="257960" cy="20966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8943264-2B03-9899-B349-76A1C938DE0F}"/>
              </a:ext>
            </a:extLst>
          </p:cNvPr>
          <p:cNvCxnSpPr/>
          <p:nvPr/>
        </p:nvCxnSpPr>
        <p:spPr>
          <a:xfrm flipV="1">
            <a:off x="3697055" y="2866227"/>
            <a:ext cx="0" cy="376237"/>
          </a:xfrm>
          <a:prstGeom prst="straightConnector1">
            <a:avLst/>
          </a:prstGeom>
          <a:ln w="28575">
            <a:solidFill>
              <a:srgbClr val="F6A8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86863802-3952-D5C9-6836-1DE78114E7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39319" y="5513451"/>
            <a:ext cx="3172551" cy="804548"/>
          </a:xfrm>
        </p:spPr>
        <p:txBody>
          <a:bodyPr/>
          <a:lstStyle/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Zwei Gefundene Lösungen</a:t>
            </a:r>
            <a:br>
              <a:rPr lang="de-DE"/>
            </a:br>
            <a:r>
              <a:rPr lang="de-DE"/>
              <a:t>mit RL</a:t>
            </a:r>
          </a:p>
        </p:txBody>
      </p:sp>
      <p:sp>
        <p:nvSpPr>
          <p:cNvPr id="31" name="Content Placeholder 29">
            <a:extLst>
              <a:ext uri="{FF2B5EF4-FFF2-40B4-BE49-F238E27FC236}">
                <a16:creationId xmlns:a16="http://schemas.microsoft.com/office/drawing/2014/main" id="{DB9217D5-6CD2-42D4-A327-8116CC5F43FE}"/>
              </a:ext>
            </a:extLst>
          </p:cNvPr>
          <p:cNvSpPr txBox="1">
            <a:spLocks/>
          </p:cNvSpPr>
          <p:nvPr/>
        </p:nvSpPr>
        <p:spPr>
          <a:xfrm>
            <a:off x="4798404" y="5628422"/>
            <a:ext cx="4948269" cy="6895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60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AD007C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AD007C"/>
              </a:buClr>
              <a:buFont typeface="Wingdings" panose="05000000000000000000" pitchFamily="2" charset="2"/>
              <a:buNone/>
              <a:defRPr sz="1800" kern="1200" cap="none" baseline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Mean von Training (TensorBoard)</a:t>
            </a:r>
          </a:p>
        </p:txBody>
      </p:sp>
      <p:sp>
        <p:nvSpPr>
          <p:cNvPr id="32" name="Content Placeholder 29">
            <a:extLst>
              <a:ext uri="{FF2B5EF4-FFF2-40B4-BE49-F238E27FC236}">
                <a16:creationId xmlns:a16="http://schemas.microsoft.com/office/drawing/2014/main" id="{B1C721F2-6B1C-CCC8-4B1D-46391B3FA40D}"/>
              </a:ext>
            </a:extLst>
          </p:cNvPr>
          <p:cNvSpPr txBox="1">
            <a:spLocks/>
          </p:cNvSpPr>
          <p:nvPr/>
        </p:nvSpPr>
        <p:spPr>
          <a:xfrm>
            <a:off x="4798404" y="3493113"/>
            <a:ext cx="1771498" cy="366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60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AD007C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AD007C"/>
              </a:buClr>
              <a:buFont typeface="Wingdings" panose="05000000000000000000" pitchFamily="2" charset="2"/>
              <a:buNone/>
              <a:defRPr sz="1800" kern="1200" cap="none" baseline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Lösung Rot</a:t>
            </a:r>
          </a:p>
        </p:txBody>
      </p:sp>
      <p:sp>
        <p:nvSpPr>
          <p:cNvPr id="33" name="Content Placeholder 29">
            <a:extLst>
              <a:ext uri="{FF2B5EF4-FFF2-40B4-BE49-F238E27FC236}">
                <a16:creationId xmlns:a16="http://schemas.microsoft.com/office/drawing/2014/main" id="{C6D505C3-AC77-A5CF-E521-AFD8F4A5F76E}"/>
              </a:ext>
            </a:extLst>
          </p:cNvPr>
          <p:cNvSpPr txBox="1">
            <a:spLocks/>
          </p:cNvSpPr>
          <p:nvPr/>
        </p:nvSpPr>
        <p:spPr>
          <a:xfrm>
            <a:off x="7785601" y="3535091"/>
            <a:ext cx="2053593" cy="385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60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AD007C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AD007C"/>
              </a:buClr>
              <a:buFont typeface="Wingdings" panose="05000000000000000000" pitchFamily="2" charset="2"/>
              <a:buNone/>
              <a:defRPr sz="1800" kern="1200" cap="none" baseline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Lösung Oran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C10C96-C356-4990-B4EF-EC7BCF8DD5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57040" y="4192964"/>
            <a:ext cx="5323426" cy="1448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542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lsifikation im Bereich Autonomes Fahr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de-DE"/>
              <a:t>Unfallvermeidu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Sicherheit steht an erster Stell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Validation von System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Vielzahl von Ansätzen</a:t>
            </a:r>
          </a:p>
        </p:txBody>
      </p:sp>
      <p:pic>
        <p:nvPicPr>
          <p:cNvPr id="10" name="Content Placeholder 9" descr="Diagram&#10;&#10;Description automatically generated">
            <a:extLst>
              <a:ext uri="{FF2B5EF4-FFF2-40B4-BE49-F238E27FC236}">
                <a16:creationId xmlns:a16="http://schemas.microsoft.com/office/drawing/2014/main" id="{FC9505C5-3261-2DFF-0433-23DC25329A2B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5506566" y="1730820"/>
            <a:ext cx="5559464" cy="3710162"/>
          </a:xfrm>
        </p:spPr>
      </p:pic>
      <p:sp>
        <p:nvSpPr>
          <p:cNvPr id="5" name="Untertitel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3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BD5A76-707B-F18F-B937-2835E1DC1BDF}"/>
              </a:ext>
            </a:extLst>
          </p:cNvPr>
          <p:cNvSpPr/>
          <p:nvPr/>
        </p:nvSpPr>
        <p:spPr>
          <a:xfrm>
            <a:off x="9546610" y="4493750"/>
            <a:ext cx="1699146" cy="10905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35855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lsifikation im Bereich Autonomes Fahren</a:t>
            </a:r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half" idx="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" b="39244"/>
          <a:stretch/>
        </p:blipFill>
        <p:spPr>
          <a:xfrm>
            <a:off x="866775" y="1602454"/>
            <a:ext cx="6925093" cy="1215928"/>
          </a:xfrm>
        </p:spPr>
      </p:pic>
      <p:sp>
        <p:nvSpPr>
          <p:cNvPr id="5" name="Untertitel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E04B1D-782E-E52B-F86E-E06D2DB6336D}"/>
              </a:ext>
            </a:extLst>
          </p:cNvPr>
          <p:cNvSpPr txBox="1"/>
          <p:nvPr/>
        </p:nvSpPr>
        <p:spPr>
          <a:xfrm>
            <a:off x="800100" y="2789267"/>
            <a:ext cx="50746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600">
              <a:buClr>
                <a:schemeClr val="tx2"/>
              </a:buClr>
            </a:pPr>
            <a:r>
              <a:rPr lang="de-DE" sz="1000">
                <a:hlinkClick r:id="rId4"/>
              </a:rPr>
              <a:t>https://www.br.de/nachrichten/deutschland-welt/behoerden-ermitteln-nach-toedlichem-unfall-mit-uber-roboterwagen,Qmp87GT</a:t>
            </a:r>
            <a:endParaRPr lang="de-DE" sz="10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772620-A627-E5F4-3159-FBD43CC7AD7F}"/>
              </a:ext>
            </a:extLst>
          </p:cNvPr>
          <p:cNvSpPr txBox="1"/>
          <p:nvPr/>
        </p:nvSpPr>
        <p:spPr>
          <a:xfrm>
            <a:off x="3858052" y="4821679"/>
            <a:ext cx="643776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600">
              <a:buClr>
                <a:schemeClr val="tx2"/>
              </a:buClr>
            </a:pPr>
            <a:r>
              <a:rPr lang="de-DE" sz="1000">
                <a:hlinkClick r:id="rId5"/>
              </a:rPr>
              <a:t>https://www.br.de/nachrichten/wissen/autonomes-fahrzeug-im-dilemma-wen-soll-ich-ueberfahren,R7Oqajo</a:t>
            </a:r>
            <a:endParaRPr lang="de-DE" sz="1000"/>
          </a:p>
          <a:p>
            <a:pPr marL="12600">
              <a:buClr>
                <a:schemeClr val="tx2"/>
              </a:buClr>
            </a:pPr>
            <a:endParaRPr lang="de-DE" sz="10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EEA175E-7D10-7E7B-61D4-DBC4E225C04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75" t="447" r="-2075" b="-447"/>
          <a:stretch/>
        </p:blipFill>
        <p:spPr>
          <a:xfrm>
            <a:off x="3962827" y="3704166"/>
            <a:ext cx="5967674" cy="11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65069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arla Framework </a:t>
            </a:r>
          </a:p>
        </p:txBody>
      </p:sp>
      <p:pic>
        <p:nvPicPr>
          <p:cNvPr id="9" name="Inhaltsplatzhalter 8" descr="A busy street with cars and buildings&#10;&#10;Description automatically generated with low confidence">
            <a:hlinkClick r:id="rId3"/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489" r="146" b="1"/>
          <a:stretch/>
        </p:blipFill>
        <p:spPr>
          <a:xfrm>
            <a:off x="1039319" y="930708"/>
            <a:ext cx="7738507" cy="5221179"/>
          </a:xfrm>
        </p:spPr>
      </p:pic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3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620258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arla Framework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/>
              <a:t>Vorteile: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Virtuelle Umgebung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Open-Source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Traffic Manager mit Autopilot vorhanden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Möglichkeit eigene Fahrzeuge zu testen</a:t>
            </a:r>
          </a:p>
          <a:p>
            <a:pPr marL="298350" indent="-285750">
              <a:buFontTx/>
              <a:buChar char="-"/>
            </a:pP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/>
              <a:t>Herausforderungen: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Frühe Version 0.9.13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Dokumentation nicht vollständig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Probleme mit Determinismus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/>
          </a:p>
        </p:txBody>
      </p:sp>
      <p:sp>
        <p:nvSpPr>
          <p:cNvPr id="5" name="Untertitel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3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1</a:t>
            </a:fld>
            <a:endParaRPr lang="de-D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54FA97F-71D7-3937-7B70-0AB642847E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04" b="31967"/>
          <a:stretch/>
        </p:blipFill>
        <p:spPr>
          <a:xfrm>
            <a:off x="719400" y="3940072"/>
            <a:ext cx="6928000" cy="218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18437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3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2</a:t>
            </a:fld>
            <a:endParaRPr lang="de-DE"/>
          </a:p>
        </p:txBody>
      </p:sp>
      <p:pic>
        <p:nvPicPr>
          <p:cNvPr id="11" name="Content Placeholder 10" descr="A picture containing sky, grass, outdoor, mountain&#10;&#10;Description automatically generated">
            <a:extLst>
              <a:ext uri="{FF2B5EF4-FFF2-40B4-BE49-F238E27FC236}">
                <a16:creationId xmlns:a16="http://schemas.microsoft.com/office/drawing/2014/main" id="{2F0A7FC8-2388-2198-771C-8C076244AB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t="9295"/>
          <a:stretch/>
        </p:blipFill>
        <p:spPr>
          <a:xfrm>
            <a:off x="1994857" y="1535372"/>
            <a:ext cx="7770116" cy="4698533"/>
          </a:xfr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5B7B64C-9F29-7D03-A0A3-002E78AE8520}"/>
              </a:ext>
            </a:extLst>
          </p:cNvPr>
          <p:cNvSpPr txBox="1"/>
          <p:nvPr/>
        </p:nvSpPr>
        <p:spPr>
          <a:xfrm>
            <a:off x="3426729" y="6018461"/>
            <a:ext cx="73629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solidFill>
                  <a:schemeClr val="bg1"/>
                </a:solidFill>
              </a:rPr>
              <a:t>https://www.dieweltenbummler.de/blog/unterwegs-auf-den-highways-und-interstates-der-usa/attachment/lange-strasse-in-kalifornien/</a:t>
            </a:r>
          </a:p>
        </p:txBody>
      </p:sp>
    </p:spTree>
    <p:extLst>
      <p:ext uri="{BB962C8B-B14F-4D97-AF65-F5344CB8AC3E}">
        <p14:creationId xmlns:p14="http://schemas.microsoft.com/office/powerpoint/2010/main" val="19521337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B5300-0D55-3130-F76C-879F027D3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lsifikation im Bereich Autonomes Fahren</a:t>
            </a:r>
            <a:endParaRPr lang="en-GB"/>
          </a:p>
        </p:txBody>
      </p:sp>
      <p:pic>
        <p:nvPicPr>
          <p:cNvPr id="10" name="Content Placeholder 9" descr="A picture containing text, tree&#10;&#10;Description automatically generated">
            <a:extLst>
              <a:ext uri="{FF2B5EF4-FFF2-40B4-BE49-F238E27FC236}">
                <a16:creationId xmlns:a16="http://schemas.microsoft.com/office/drawing/2014/main" id="{521A20E6-97FF-6A2F-D6B0-11AAC697BC8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l="14096" t="2483" r="11265"/>
          <a:stretch/>
        </p:blipFill>
        <p:spPr>
          <a:xfrm>
            <a:off x="6189843" y="1642946"/>
            <a:ext cx="4809087" cy="4551335"/>
          </a:xfr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835657D-9D9F-8947-1868-A5CD7168A7E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AFA51C4-6347-6CB3-EC36-18DFF65FFFD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103BA56-37D0-3DEE-633A-B493CB05E7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0516522-EF53-FC3C-35E6-0E7EA24441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5647" y="5436972"/>
            <a:ext cx="322790" cy="322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41E526CA-B46F-7AA8-2DEB-B07E98F09B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6449" y="1932726"/>
            <a:ext cx="240241" cy="435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D4E3AA-F5A4-575C-62CD-D4233AA9D5B7}"/>
              </a:ext>
            </a:extLst>
          </p:cNvPr>
          <p:cNvCxnSpPr>
            <a:cxnSpLocks/>
          </p:cNvCxnSpPr>
          <p:nvPr/>
        </p:nvCxnSpPr>
        <p:spPr>
          <a:xfrm flipV="1">
            <a:off x="8594387" y="4707696"/>
            <a:ext cx="0" cy="102235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3E1941B-2FF3-8AA0-45DD-C248B11EBC09}"/>
              </a:ext>
            </a:extLst>
          </p:cNvPr>
          <p:cNvCxnSpPr>
            <a:cxnSpLocks/>
            <a:stCxn id="2052" idx="2"/>
          </p:cNvCxnSpPr>
          <p:nvPr/>
        </p:nvCxnSpPr>
        <p:spPr>
          <a:xfrm flipH="1">
            <a:off x="8343754" y="2367881"/>
            <a:ext cx="792816" cy="52369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78755B87-B710-93F2-AC9E-F96B8678C84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713" r="10216"/>
          <a:stretch/>
        </p:blipFill>
        <p:spPr>
          <a:xfrm>
            <a:off x="1005443" y="1643881"/>
            <a:ext cx="4710318" cy="45504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3A98F51-F5A5-3C1B-FE95-CC2CD467D478}"/>
              </a:ext>
            </a:extLst>
          </p:cNvPr>
          <p:cNvSpPr/>
          <p:nvPr/>
        </p:nvSpPr>
        <p:spPr>
          <a:xfrm>
            <a:off x="4099796" y="4040065"/>
            <a:ext cx="408963" cy="716138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FA3E67-022A-9AF0-54F0-0B42B884B3AA}"/>
              </a:ext>
            </a:extLst>
          </p:cNvPr>
          <p:cNvSpPr txBox="1"/>
          <p:nvPr/>
        </p:nvSpPr>
        <p:spPr>
          <a:xfrm>
            <a:off x="8045286" y="3891613"/>
            <a:ext cx="12200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nomesfahren</a:t>
            </a:r>
            <a:endParaRPr lang="de-DE" sz="16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021655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lsifikation im Bereich Autonomes Fahr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3.09.2022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DB4755-3CEB-5353-7C82-7AB27C9A161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Timeline 1">
            <a:hlinkClick r:id="" action="ppaction://media"/>
            <a:extLst>
              <a:ext uri="{FF2B5EF4-FFF2-40B4-BE49-F238E27FC236}">
                <a16:creationId xmlns:a16="http://schemas.microsoft.com/office/drawing/2014/main" id="{0DB6F22D-FBA7-3784-1DA7-DE2B3AFC2018}"/>
              </a:ext>
            </a:extLst>
          </p:cNvPr>
          <p:cNvPicPr>
            <a:picLocks noGrp="1" noChangeAspect="1"/>
          </p:cNvPicPr>
          <p:nvPr>
            <p:ph sz="half"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-1"/>
            <a:ext cx="12192000" cy="6857767"/>
          </a:xfrm>
        </p:spPr>
      </p:pic>
    </p:spTree>
    <p:extLst>
      <p:ext uri="{BB962C8B-B14F-4D97-AF65-F5344CB8AC3E}">
        <p14:creationId xmlns:p14="http://schemas.microsoft.com/office/powerpoint/2010/main" val="4280043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9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1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Falsifikation im Bereich Autonomes Fahr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Reinforcement Learni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8A5245-99B2-4A44-806A-CF23BB425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Einblick ins Projek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/>
              <a:t>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Ausblick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92942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inforcement Learning</a:t>
            </a:r>
          </a:p>
        </p:txBody>
      </p:sp>
      <p:pic>
        <p:nvPicPr>
          <p:cNvPr id="9" name="Inhaltsplatzhalter 8"/>
          <p:cNvPicPr>
            <a:picLocks noGrp="1" noChangeAspect="1"/>
          </p:cNvPicPr>
          <p:nvPr>
            <p:ph sz="half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866" y="1642956"/>
            <a:ext cx="7815334" cy="4477069"/>
          </a:xfrm>
        </p:spPr>
      </p:pic>
      <p:sp>
        <p:nvSpPr>
          <p:cNvPr id="5" name="Untertitel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25589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inforcement Learn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/>
              <a:t>Vorteile: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Agent versucht optimale Lösung zu finden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Es können neue und unbekannte Lösungen entstehen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Großer State-Space möglich</a:t>
            </a:r>
          </a:p>
          <a:p>
            <a:pPr marL="298350" indent="-285750">
              <a:buFontTx/>
              <a:buChar char="-"/>
            </a:pP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/>
              <a:t>Herausforderungen: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Stabiles Environment 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Gute Reward-Funktion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Geeigneter Action- und Observation-Space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Lange Trainingszeiten</a:t>
            </a:r>
          </a:p>
          <a:p>
            <a:pPr marL="2983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Optimierung der Hyperparameter</a:t>
            </a:r>
          </a:p>
        </p:txBody>
      </p:sp>
      <p:sp>
        <p:nvSpPr>
          <p:cNvPr id="5" name="Untertitel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96802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1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Falsifikation im Bereich Autonomes Fahr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Reinforcement Learni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8A5245-99B2-4A44-806A-CF23BB425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Einblick ins Projek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/>
              <a:t>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Ausblick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26.09.2022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Lehrstuhl Mechatronik    |    Universität Augsburg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307647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MechatronikVorlageLogo.potx" id="{FC130EAA-68F6-4880-A4AF-1F2C0ED08346}" vid="{7E45C659-DE36-4336-A9C3-C6B10606566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chatronikVorlageLogo</Template>
  <TotalTime>0</TotalTime>
  <Application>Microsoft Office PowerPoint</Application>
  <PresentationFormat>Breitbild</PresentationFormat>
  <Slides>32</Slides>
  <Notes>12</Notes>
  <HiddenSlides>7</HiddenSlide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3" baseType="lpstr">
      <vt:lpstr>Office</vt:lpstr>
      <vt:lpstr>CARLA-Falsifikation</vt:lpstr>
      <vt:lpstr>Agenda</vt:lpstr>
      <vt:lpstr>Falsifikation im Bereich Autonomes Fahren</vt:lpstr>
      <vt:lpstr>Falsifikation im Bereich Autonomes Fahren</vt:lpstr>
      <vt:lpstr>Falsifikation im Bereich Autonomes Fahren</vt:lpstr>
      <vt:lpstr>Agenda</vt:lpstr>
      <vt:lpstr>Reinforcement Learning</vt:lpstr>
      <vt:lpstr>Reinforcement Learning</vt:lpstr>
      <vt:lpstr>Agenda</vt:lpstr>
      <vt:lpstr>Einblicke ins Projekt</vt:lpstr>
      <vt:lpstr>Einblicke ins Projekt</vt:lpstr>
      <vt:lpstr>Einblicke ins Projekt</vt:lpstr>
      <vt:lpstr>Einblicke ins Projekt</vt:lpstr>
      <vt:lpstr>Einblicke ins Projekt</vt:lpstr>
      <vt:lpstr>Einblicke ins Projekt</vt:lpstr>
      <vt:lpstr>Einblicke ins Projekt</vt:lpstr>
      <vt:lpstr>Agenda</vt:lpstr>
      <vt:lpstr>Ausblick</vt:lpstr>
      <vt:lpstr>Quellen</vt:lpstr>
      <vt:lpstr>Quellen</vt:lpstr>
      <vt:lpstr>CARLA-Falsifikation</vt:lpstr>
      <vt:lpstr>PowerPoint-Präsentation</vt:lpstr>
      <vt:lpstr>Einblicke ins Projekt</vt:lpstr>
      <vt:lpstr>Einblicke ins Projekt</vt:lpstr>
      <vt:lpstr>Einblicke ins Projekt</vt:lpstr>
      <vt:lpstr>Einblicke ins Projekt</vt:lpstr>
      <vt:lpstr>Reinforcement Learning</vt:lpstr>
      <vt:lpstr>Einblicke ins Projekt</vt:lpstr>
      <vt:lpstr>Falsifikation im Bereich Autonomes Fahren</vt:lpstr>
      <vt:lpstr>Carla Framework </vt:lpstr>
      <vt:lpstr>Carla Framework </vt:lpstr>
      <vt:lpstr>Ausblick</vt:lpstr>
    </vt:vector>
  </TitlesOfParts>
  <Company>UNI Augs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Krönes</dc:creator>
  <cp:revision>2</cp:revision>
  <dcterms:created xsi:type="dcterms:W3CDTF">2021-05-05T05:50:57Z</dcterms:created>
  <dcterms:modified xsi:type="dcterms:W3CDTF">2022-10-01T12:38:48Z</dcterms:modified>
</cp:coreProperties>
</file>